
<file path=[Content_Types].xml><?xml version="1.0" encoding="utf-8"?>
<Types xmlns="http://schemas.openxmlformats.org/package/2006/content-types">
  <Default Extension="png" ContentType="image/png"/>
  <Default Extension="jfif" ContentType="image/jpe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</p:sldIdLst>
  <p:sldSz cx="12455525" cy="8280400"/>
  <p:notesSz cx="6858000" cy="9144000"/>
  <p:defaultTextStyle>
    <a:defPPr>
      <a:defRPr lang="zh-CN"/>
    </a:defPPr>
    <a:lvl1pPr marL="0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1pPr>
    <a:lvl2pPr marL="497662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2pPr>
    <a:lvl3pPr marL="995324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3pPr>
    <a:lvl4pPr marL="1492987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4pPr>
    <a:lvl5pPr marL="1990649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5pPr>
    <a:lvl6pPr marL="2488311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6pPr>
    <a:lvl7pPr marL="2985973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7pPr>
    <a:lvl8pPr marL="3483635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8pPr>
    <a:lvl9pPr marL="3981298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24" y="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9BF3AC-E002-4C62-A55F-080F9E323863}" type="doc">
      <dgm:prSet loTypeId="urn:microsoft.com/office/officeart/2005/8/layout/cycle1" loCatId="cycle" qsTypeId="urn:microsoft.com/office/officeart/2005/8/quickstyle/simple1" qsCatId="simple" csTypeId="urn:microsoft.com/office/officeart/2005/8/colors/colorful4" csCatId="colorful" phldr="0"/>
      <dgm:spPr/>
      <dgm:t>
        <a:bodyPr/>
        <a:lstStyle/>
        <a:p>
          <a:endParaRPr lang="zh-CN" altLang="en-US"/>
        </a:p>
      </dgm:t>
    </dgm:pt>
    <dgm:pt modelId="{8EB5A216-475B-4C7C-BB21-5C7B770FB9AF}">
      <dgm:prSet phldrT="[文本]" phldr="1"/>
      <dgm:spPr/>
      <dgm:t>
        <a:bodyPr/>
        <a:lstStyle/>
        <a:p>
          <a:endParaRPr lang="zh-CN" altLang="en-US"/>
        </a:p>
      </dgm:t>
    </dgm:pt>
    <dgm:pt modelId="{4410D0F7-83DC-4FDE-AEAE-A3E46E2D633A}" type="parTrans" cxnId="{27C92C6C-4C4C-4B6B-AFF2-017AE9231366}">
      <dgm:prSet/>
      <dgm:spPr/>
      <dgm:t>
        <a:bodyPr/>
        <a:lstStyle/>
        <a:p>
          <a:endParaRPr lang="zh-CN" altLang="en-US"/>
        </a:p>
      </dgm:t>
    </dgm:pt>
    <dgm:pt modelId="{A4783862-150F-4983-A0D3-DC4DA2775B61}" type="sibTrans" cxnId="{27C92C6C-4C4C-4B6B-AFF2-017AE9231366}">
      <dgm:prSet/>
      <dgm:spPr/>
      <dgm:t>
        <a:bodyPr/>
        <a:lstStyle/>
        <a:p>
          <a:endParaRPr lang="zh-CN" altLang="en-US"/>
        </a:p>
      </dgm:t>
    </dgm:pt>
    <dgm:pt modelId="{D5F92D29-BF02-4CDF-898A-FAC4B639DFCE}">
      <dgm:prSet phldrT="[文本]" phldr="1"/>
      <dgm:spPr/>
      <dgm:t>
        <a:bodyPr/>
        <a:lstStyle/>
        <a:p>
          <a:endParaRPr lang="zh-CN" altLang="en-US"/>
        </a:p>
      </dgm:t>
    </dgm:pt>
    <dgm:pt modelId="{85CF76D7-BE28-4038-B8C9-F9F70405BF5C}" type="parTrans" cxnId="{A7C91A6B-99AE-406D-A3DB-631789F2D54E}">
      <dgm:prSet/>
      <dgm:spPr/>
      <dgm:t>
        <a:bodyPr/>
        <a:lstStyle/>
        <a:p>
          <a:endParaRPr lang="zh-CN" altLang="en-US"/>
        </a:p>
      </dgm:t>
    </dgm:pt>
    <dgm:pt modelId="{D6211E3F-89BF-4A71-B92C-F59ED69BD7BA}" type="sibTrans" cxnId="{A7C91A6B-99AE-406D-A3DB-631789F2D54E}">
      <dgm:prSet/>
      <dgm:spPr/>
      <dgm:t>
        <a:bodyPr/>
        <a:lstStyle/>
        <a:p>
          <a:endParaRPr lang="zh-CN" altLang="en-US"/>
        </a:p>
      </dgm:t>
    </dgm:pt>
    <dgm:pt modelId="{ADC2E6A3-6155-4857-9F4C-2669B1075254}">
      <dgm:prSet phldrT="[文本]" phldr="1"/>
      <dgm:spPr/>
      <dgm:t>
        <a:bodyPr/>
        <a:lstStyle/>
        <a:p>
          <a:endParaRPr lang="zh-CN" altLang="en-US"/>
        </a:p>
      </dgm:t>
    </dgm:pt>
    <dgm:pt modelId="{44ECBC25-F132-4C06-AD55-C37D116ACC05}" type="parTrans" cxnId="{9E15875E-6BD0-44CF-8DF8-23078409927C}">
      <dgm:prSet/>
      <dgm:spPr/>
      <dgm:t>
        <a:bodyPr/>
        <a:lstStyle/>
        <a:p>
          <a:endParaRPr lang="zh-CN" altLang="en-US"/>
        </a:p>
      </dgm:t>
    </dgm:pt>
    <dgm:pt modelId="{0C2060A8-1E71-41C0-A2F5-B9D11B3BCA37}" type="sibTrans" cxnId="{9E15875E-6BD0-44CF-8DF8-23078409927C}">
      <dgm:prSet/>
      <dgm:spPr/>
      <dgm:t>
        <a:bodyPr/>
        <a:lstStyle/>
        <a:p>
          <a:endParaRPr lang="zh-CN" altLang="en-US"/>
        </a:p>
      </dgm:t>
    </dgm:pt>
    <dgm:pt modelId="{D52A8570-E29C-4B46-BA21-12F4FD343AD9}">
      <dgm:prSet phldrT="[文本]" phldr="1"/>
      <dgm:spPr/>
      <dgm:t>
        <a:bodyPr/>
        <a:lstStyle/>
        <a:p>
          <a:endParaRPr lang="zh-CN" altLang="en-US"/>
        </a:p>
      </dgm:t>
    </dgm:pt>
    <dgm:pt modelId="{212EE92D-F880-4D18-8A9A-7C1C4493FEA9}" type="parTrans" cxnId="{E20CA752-9030-4BFA-A1BF-C1D3EA671F98}">
      <dgm:prSet/>
      <dgm:spPr/>
      <dgm:t>
        <a:bodyPr/>
        <a:lstStyle/>
        <a:p>
          <a:endParaRPr lang="zh-CN" altLang="en-US"/>
        </a:p>
      </dgm:t>
    </dgm:pt>
    <dgm:pt modelId="{5210204E-BF06-463D-B524-FAA317DB7601}" type="sibTrans" cxnId="{E20CA752-9030-4BFA-A1BF-C1D3EA671F98}">
      <dgm:prSet/>
      <dgm:spPr/>
      <dgm:t>
        <a:bodyPr/>
        <a:lstStyle/>
        <a:p>
          <a:endParaRPr lang="zh-CN" altLang="en-US"/>
        </a:p>
      </dgm:t>
    </dgm:pt>
    <dgm:pt modelId="{FCCF9CA6-C0DC-4134-BC48-0CCD281395F9}">
      <dgm:prSet phldrT="[文本]" phldr="1"/>
      <dgm:spPr/>
      <dgm:t>
        <a:bodyPr/>
        <a:lstStyle/>
        <a:p>
          <a:endParaRPr lang="zh-CN" altLang="en-US"/>
        </a:p>
      </dgm:t>
    </dgm:pt>
    <dgm:pt modelId="{626CCDCD-DB10-4850-BC8C-DBA163507FAB}" type="parTrans" cxnId="{B78F2BA4-3149-42A7-95D2-2D10A1F1311F}">
      <dgm:prSet/>
      <dgm:spPr/>
      <dgm:t>
        <a:bodyPr/>
        <a:lstStyle/>
        <a:p>
          <a:endParaRPr lang="zh-CN" altLang="en-US"/>
        </a:p>
      </dgm:t>
    </dgm:pt>
    <dgm:pt modelId="{6E401092-A3BE-42F3-877A-B9A14F0D27BE}" type="sibTrans" cxnId="{B78F2BA4-3149-42A7-95D2-2D10A1F1311F}">
      <dgm:prSet/>
      <dgm:spPr/>
      <dgm:t>
        <a:bodyPr/>
        <a:lstStyle/>
        <a:p>
          <a:endParaRPr lang="zh-CN" altLang="en-US"/>
        </a:p>
      </dgm:t>
    </dgm:pt>
    <dgm:pt modelId="{F9199D64-472B-45D1-B856-E6B15BBEC76E}" type="pres">
      <dgm:prSet presAssocID="{6E9BF3AC-E002-4C62-A55F-080F9E323863}" presName="cycle" presStyleCnt="0">
        <dgm:presLayoutVars>
          <dgm:dir/>
          <dgm:resizeHandles val="exact"/>
        </dgm:presLayoutVars>
      </dgm:prSet>
      <dgm:spPr/>
    </dgm:pt>
    <dgm:pt modelId="{354A5A58-3FAB-4CB0-90D2-9CC7C90C36AC}" type="pres">
      <dgm:prSet presAssocID="{8EB5A216-475B-4C7C-BB21-5C7B770FB9AF}" presName="dummy" presStyleCnt="0"/>
      <dgm:spPr/>
    </dgm:pt>
    <dgm:pt modelId="{494AD992-E18E-4E9F-8D1A-2CEB2CF46F8D}" type="pres">
      <dgm:prSet presAssocID="{8EB5A216-475B-4C7C-BB21-5C7B770FB9AF}" presName="node" presStyleLbl="revTx" presStyleIdx="0" presStyleCnt="5">
        <dgm:presLayoutVars>
          <dgm:bulletEnabled val="1"/>
        </dgm:presLayoutVars>
      </dgm:prSet>
      <dgm:spPr/>
    </dgm:pt>
    <dgm:pt modelId="{2209E4FA-6CBF-4DFC-B519-445E704B6008}" type="pres">
      <dgm:prSet presAssocID="{A4783862-150F-4983-A0D3-DC4DA2775B61}" presName="sibTrans" presStyleLbl="node1" presStyleIdx="0" presStyleCnt="5"/>
      <dgm:spPr/>
    </dgm:pt>
    <dgm:pt modelId="{FA986C63-5035-4423-8467-431A6F3318B2}" type="pres">
      <dgm:prSet presAssocID="{D5F92D29-BF02-4CDF-898A-FAC4B639DFCE}" presName="dummy" presStyleCnt="0"/>
      <dgm:spPr/>
    </dgm:pt>
    <dgm:pt modelId="{77295A0C-B0F6-4A50-B014-C3537F426593}" type="pres">
      <dgm:prSet presAssocID="{D5F92D29-BF02-4CDF-898A-FAC4B639DFCE}" presName="node" presStyleLbl="revTx" presStyleIdx="1" presStyleCnt="5">
        <dgm:presLayoutVars>
          <dgm:bulletEnabled val="1"/>
        </dgm:presLayoutVars>
      </dgm:prSet>
      <dgm:spPr/>
    </dgm:pt>
    <dgm:pt modelId="{339FA438-D2B0-4202-9352-4EB0616D87A1}" type="pres">
      <dgm:prSet presAssocID="{D6211E3F-89BF-4A71-B92C-F59ED69BD7BA}" presName="sibTrans" presStyleLbl="node1" presStyleIdx="1" presStyleCnt="5"/>
      <dgm:spPr/>
    </dgm:pt>
    <dgm:pt modelId="{DF94E7C2-52E8-4C9B-A2A8-0409A30F8B66}" type="pres">
      <dgm:prSet presAssocID="{ADC2E6A3-6155-4857-9F4C-2669B1075254}" presName="dummy" presStyleCnt="0"/>
      <dgm:spPr/>
    </dgm:pt>
    <dgm:pt modelId="{8E963517-47FE-4BC1-81E1-905C0DF89D45}" type="pres">
      <dgm:prSet presAssocID="{ADC2E6A3-6155-4857-9F4C-2669B1075254}" presName="node" presStyleLbl="revTx" presStyleIdx="2" presStyleCnt="5">
        <dgm:presLayoutVars>
          <dgm:bulletEnabled val="1"/>
        </dgm:presLayoutVars>
      </dgm:prSet>
      <dgm:spPr/>
    </dgm:pt>
    <dgm:pt modelId="{73A38AB1-371A-4A6C-BD63-B5FA53453B68}" type="pres">
      <dgm:prSet presAssocID="{0C2060A8-1E71-41C0-A2F5-B9D11B3BCA37}" presName="sibTrans" presStyleLbl="node1" presStyleIdx="2" presStyleCnt="5"/>
      <dgm:spPr/>
    </dgm:pt>
    <dgm:pt modelId="{0B5A5D50-C787-442B-9E3C-CA0DD37943E5}" type="pres">
      <dgm:prSet presAssocID="{D52A8570-E29C-4B46-BA21-12F4FD343AD9}" presName="dummy" presStyleCnt="0"/>
      <dgm:spPr/>
    </dgm:pt>
    <dgm:pt modelId="{613B82C9-B3E8-4A4B-A995-0ADFD0A6C675}" type="pres">
      <dgm:prSet presAssocID="{D52A8570-E29C-4B46-BA21-12F4FD343AD9}" presName="node" presStyleLbl="revTx" presStyleIdx="3" presStyleCnt="5">
        <dgm:presLayoutVars>
          <dgm:bulletEnabled val="1"/>
        </dgm:presLayoutVars>
      </dgm:prSet>
      <dgm:spPr/>
    </dgm:pt>
    <dgm:pt modelId="{D9B0553C-0FD6-4EBC-B988-B45CF2F836A3}" type="pres">
      <dgm:prSet presAssocID="{5210204E-BF06-463D-B524-FAA317DB7601}" presName="sibTrans" presStyleLbl="node1" presStyleIdx="3" presStyleCnt="5"/>
      <dgm:spPr/>
    </dgm:pt>
    <dgm:pt modelId="{BF70C167-AFE5-46BD-BA2B-42015F740954}" type="pres">
      <dgm:prSet presAssocID="{FCCF9CA6-C0DC-4134-BC48-0CCD281395F9}" presName="dummy" presStyleCnt="0"/>
      <dgm:spPr/>
    </dgm:pt>
    <dgm:pt modelId="{3A5D0351-1239-4677-8F96-A717D307FA26}" type="pres">
      <dgm:prSet presAssocID="{FCCF9CA6-C0DC-4134-BC48-0CCD281395F9}" presName="node" presStyleLbl="revTx" presStyleIdx="4" presStyleCnt="5">
        <dgm:presLayoutVars>
          <dgm:bulletEnabled val="1"/>
        </dgm:presLayoutVars>
      </dgm:prSet>
      <dgm:spPr/>
    </dgm:pt>
    <dgm:pt modelId="{80212B64-95F8-416E-B5C2-62505E99F6DC}" type="pres">
      <dgm:prSet presAssocID="{6E401092-A3BE-42F3-877A-B9A14F0D27BE}" presName="sibTrans" presStyleLbl="node1" presStyleIdx="4" presStyleCnt="5"/>
      <dgm:spPr/>
    </dgm:pt>
  </dgm:ptLst>
  <dgm:cxnLst>
    <dgm:cxn modelId="{CDE66625-7097-4E77-A627-D3A4C98C0D32}" type="presOf" srcId="{6E9BF3AC-E002-4C62-A55F-080F9E323863}" destId="{F9199D64-472B-45D1-B856-E6B15BBEC76E}" srcOrd="0" destOrd="0" presId="urn:microsoft.com/office/officeart/2005/8/layout/cycle1"/>
    <dgm:cxn modelId="{2EAE8C3B-3C4E-42DA-B16A-C50F5AF5AE7D}" type="presOf" srcId="{D5F92D29-BF02-4CDF-898A-FAC4B639DFCE}" destId="{77295A0C-B0F6-4A50-B014-C3537F426593}" srcOrd="0" destOrd="0" presId="urn:microsoft.com/office/officeart/2005/8/layout/cycle1"/>
    <dgm:cxn modelId="{9E15875E-6BD0-44CF-8DF8-23078409927C}" srcId="{6E9BF3AC-E002-4C62-A55F-080F9E323863}" destId="{ADC2E6A3-6155-4857-9F4C-2669B1075254}" srcOrd="2" destOrd="0" parTransId="{44ECBC25-F132-4C06-AD55-C37D116ACC05}" sibTransId="{0C2060A8-1E71-41C0-A2F5-B9D11B3BCA37}"/>
    <dgm:cxn modelId="{B1228564-1BA5-4D41-9566-F87ED221261B}" type="presOf" srcId="{A4783862-150F-4983-A0D3-DC4DA2775B61}" destId="{2209E4FA-6CBF-4DFC-B519-445E704B6008}" srcOrd="0" destOrd="0" presId="urn:microsoft.com/office/officeart/2005/8/layout/cycle1"/>
    <dgm:cxn modelId="{97249467-2FBC-4550-8A3E-99577E6A5799}" type="presOf" srcId="{6E401092-A3BE-42F3-877A-B9A14F0D27BE}" destId="{80212B64-95F8-416E-B5C2-62505E99F6DC}" srcOrd="0" destOrd="0" presId="urn:microsoft.com/office/officeart/2005/8/layout/cycle1"/>
    <dgm:cxn modelId="{D3067369-FC31-41B3-8A7F-920FE645D32A}" type="presOf" srcId="{0C2060A8-1E71-41C0-A2F5-B9D11B3BCA37}" destId="{73A38AB1-371A-4A6C-BD63-B5FA53453B68}" srcOrd="0" destOrd="0" presId="urn:microsoft.com/office/officeart/2005/8/layout/cycle1"/>
    <dgm:cxn modelId="{A7C91A6B-99AE-406D-A3DB-631789F2D54E}" srcId="{6E9BF3AC-E002-4C62-A55F-080F9E323863}" destId="{D5F92D29-BF02-4CDF-898A-FAC4B639DFCE}" srcOrd="1" destOrd="0" parTransId="{85CF76D7-BE28-4038-B8C9-F9F70405BF5C}" sibTransId="{D6211E3F-89BF-4A71-B92C-F59ED69BD7BA}"/>
    <dgm:cxn modelId="{27C92C6C-4C4C-4B6B-AFF2-017AE9231366}" srcId="{6E9BF3AC-E002-4C62-A55F-080F9E323863}" destId="{8EB5A216-475B-4C7C-BB21-5C7B770FB9AF}" srcOrd="0" destOrd="0" parTransId="{4410D0F7-83DC-4FDE-AEAE-A3E46E2D633A}" sibTransId="{A4783862-150F-4983-A0D3-DC4DA2775B61}"/>
    <dgm:cxn modelId="{E20CA752-9030-4BFA-A1BF-C1D3EA671F98}" srcId="{6E9BF3AC-E002-4C62-A55F-080F9E323863}" destId="{D52A8570-E29C-4B46-BA21-12F4FD343AD9}" srcOrd="3" destOrd="0" parTransId="{212EE92D-F880-4D18-8A9A-7C1C4493FEA9}" sibTransId="{5210204E-BF06-463D-B524-FAA317DB7601}"/>
    <dgm:cxn modelId="{C75A8D56-FE3F-4665-AF2A-0330F643F747}" type="presOf" srcId="{8EB5A216-475B-4C7C-BB21-5C7B770FB9AF}" destId="{494AD992-E18E-4E9F-8D1A-2CEB2CF46F8D}" srcOrd="0" destOrd="0" presId="urn:microsoft.com/office/officeart/2005/8/layout/cycle1"/>
    <dgm:cxn modelId="{08DE0C8B-BA76-4B0A-B33B-2325F337AE73}" type="presOf" srcId="{D52A8570-E29C-4B46-BA21-12F4FD343AD9}" destId="{613B82C9-B3E8-4A4B-A995-0ADFD0A6C675}" srcOrd="0" destOrd="0" presId="urn:microsoft.com/office/officeart/2005/8/layout/cycle1"/>
    <dgm:cxn modelId="{B78F2BA4-3149-42A7-95D2-2D10A1F1311F}" srcId="{6E9BF3AC-E002-4C62-A55F-080F9E323863}" destId="{FCCF9CA6-C0DC-4134-BC48-0CCD281395F9}" srcOrd="4" destOrd="0" parTransId="{626CCDCD-DB10-4850-BC8C-DBA163507FAB}" sibTransId="{6E401092-A3BE-42F3-877A-B9A14F0D27BE}"/>
    <dgm:cxn modelId="{C8CE7EA8-0568-4F0F-BB30-29ED86E7106B}" type="presOf" srcId="{D6211E3F-89BF-4A71-B92C-F59ED69BD7BA}" destId="{339FA438-D2B0-4202-9352-4EB0616D87A1}" srcOrd="0" destOrd="0" presId="urn:microsoft.com/office/officeart/2005/8/layout/cycle1"/>
    <dgm:cxn modelId="{BC6E94A9-F153-4110-9F7C-B51DB846E64C}" type="presOf" srcId="{5210204E-BF06-463D-B524-FAA317DB7601}" destId="{D9B0553C-0FD6-4EBC-B988-B45CF2F836A3}" srcOrd="0" destOrd="0" presId="urn:microsoft.com/office/officeart/2005/8/layout/cycle1"/>
    <dgm:cxn modelId="{87097DBA-13AB-4E53-82D5-4ACA65028A43}" type="presOf" srcId="{FCCF9CA6-C0DC-4134-BC48-0CCD281395F9}" destId="{3A5D0351-1239-4677-8F96-A717D307FA26}" srcOrd="0" destOrd="0" presId="urn:microsoft.com/office/officeart/2005/8/layout/cycle1"/>
    <dgm:cxn modelId="{24A13BBF-A9B6-4CD9-828C-B7D9139DDA30}" type="presOf" srcId="{ADC2E6A3-6155-4857-9F4C-2669B1075254}" destId="{8E963517-47FE-4BC1-81E1-905C0DF89D45}" srcOrd="0" destOrd="0" presId="urn:microsoft.com/office/officeart/2005/8/layout/cycle1"/>
    <dgm:cxn modelId="{31C16CB7-D09C-4101-9A11-C4107831F66A}" type="presParOf" srcId="{F9199D64-472B-45D1-B856-E6B15BBEC76E}" destId="{354A5A58-3FAB-4CB0-90D2-9CC7C90C36AC}" srcOrd="0" destOrd="0" presId="urn:microsoft.com/office/officeart/2005/8/layout/cycle1"/>
    <dgm:cxn modelId="{82EB15D5-A756-4263-8739-4CAA42ABB594}" type="presParOf" srcId="{F9199D64-472B-45D1-B856-E6B15BBEC76E}" destId="{494AD992-E18E-4E9F-8D1A-2CEB2CF46F8D}" srcOrd="1" destOrd="0" presId="urn:microsoft.com/office/officeart/2005/8/layout/cycle1"/>
    <dgm:cxn modelId="{163A3BB1-B29C-41B2-82B2-FA1177CAE57B}" type="presParOf" srcId="{F9199D64-472B-45D1-B856-E6B15BBEC76E}" destId="{2209E4FA-6CBF-4DFC-B519-445E704B6008}" srcOrd="2" destOrd="0" presId="urn:microsoft.com/office/officeart/2005/8/layout/cycle1"/>
    <dgm:cxn modelId="{8BED563D-6E4D-4015-8C46-837977B8008E}" type="presParOf" srcId="{F9199D64-472B-45D1-B856-E6B15BBEC76E}" destId="{FA986C63-5035-4423-8467-431A6F3318B2}" srcOrd="3" destOrd="0" presId="urn:microsoft.com/office/officeart/2005/8/layout/cycle1"/>
    <dgm:cxn modelId="{8B374E9E-62CB-4C54-904E-65813BCAFB16}" type="presParOf" srcId="{F9199D64-472B-45D1-B856-E6B15BBEC76E}" destId="{77295A0C-B0F6-4A50-B014-C3537F426593}" srcOrd="4" destOrd="0" presId="urn:microsoft.com/office/officeart/2005/8/layout/cycle1"/>
    <dgm:cxn modelId="{D329B50B-D114-4713-97D1-3E025840382C}" type="presParOf" srcId="{F9199D64-472B-45D1-B856-E6B15BBEC76E}" destId="{339FA438-D2B0-4202-9352-4EB0616D87A1}" srcOrd="5" destOrd="0" presId="urn:microsoft.com/office/officeart/2005/8/layout/cycle1"/>
    <dgm:cxn modelId="{EDA2D6AC-B142-4961-A694-FE38218190A9}" type="presParOf" srcId="{F9199D64-472B-45D1-B856-E6B15BBEC76E}" destId="{DF94E7C2-52E8-4C9B-A2A8-0409A30F8B66}" srcOrd="6" destOrd="0" presId="urn:microsoft.com/office/officeart/2005/8/layout/cycle1"/>
    <dgm:cxn modelId="{38E9FF79-624A-43E9-B8A9-02B405DDA2EE}" type="presParOf" srcId="{F9199D64-472B-45D1-B856-E6B15BBEC76E}" destId="{8E963517-47FE-4BC1-81E1-905C0DF89D45}" srcOrd="7" destOrd="0" presId="urn:microsoft.com/office/officeart/2005/8/layout/cycle1"/>
    <dgm:cxn modelId="{8B1236E2-A18B-4317-BB31-BD65F83A2A00}" type="presParOf" srcId="{F9199D64-472B-45D1-B856-E6B15BBEC76E}" destId="{73A38AB1-371A-4A6C-BD63-B5FA53453B68}" srcOrd="8" destOrd="0" presId="urn:microsoft.com/office/officeart/2005/8/layout/cycle1"/>
    <dgm:cxn modelId="{335C9DE0-40C2-4C6D-8173-BD126EA40EC5}" type="presParOf" srcId="{F9199D64-472B-45D1-B856-E6B15BBEC76E}" destId="{0B5A5D50-C787-442B-9E3C-CA0DD37943E5}" srcOrd="9" destOrd="0" presId="urn:microsoft.com/office/officeart/2005/8/layout/cycle1"/>
    <dgm:cxn modelId="{E60EA8BC-424F-4C04-9A19-B775B090BBBB}" type="presParOf" srcId="{F9199D64-472B-45D1-B856-E6B15BBEC76E}" destId="{613B82C9-B3E8-4A4B-A995-0ADFD0A6C675}" srcOrd="10" destOrd="0" presId="urn:microsoft.com/office/officeart/2005/8/layout/cycle1"/>
    <dgm:cxn modelId="{5089B802-3BD6-40FF-9B04-425557A1EE05}" type="presParOf" srcId="{F9199D64-472B-45D1-B856-E6B15BBEC76E}" destId="{D9B0553C-0FD6-4EBC-B988-B45CF2F836A3}" srcOrd="11" destOrd="0" presId="urn:microsoft.com/office/officeart/2005/8/layout/cycle1"/>
    <dgm:cxn modelId="{DD013957-61BC-413E-B811-071FC9C2D7F6}" type="presParOf" srcId="{F9199D64-472B-45D1-B856-E6B15BBEC76E}" destId="{BF70C167-AFE5-46BD-BA2B-42015F740954}" srcOrd="12" destOrd="0" presId="urn:microsoft.com/office/officeart/2005/8/layout/cycle1"/>
    <dgm:cxn modelId="{09C5168F-C5F3-420C-8BD1-44B138707634}" type="presParOf" srcId="{F9199D64-472B-45D1-B856-E6B15BBEC76E}" destId="{3A5D0351-1239-4677-8F96-A717D307FA26}" srcOrd="13" destOrd="0" presId="urn:microsoft.com/office/officeart/2005/8/layout/cycle1"/>
    <dgm:cxn modelId="{E3D5CF0F-A842-437A-8177-506B7ED7F96E}" type="presParOf" srcId="{F9199D64-472B-45D1-B856-E6B15BBEC76E}" destId="{80212B64-95F8-416E-B5C2-62505E99F6DC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4AD992-E18E-4E9F-8D1A-2CEB2CF46F8D}">
      <dsp:nvSpPr>
        <dsp:cNvPr id="0" name=""/>
        <dsp:cNvSpPr/>
      </dsp:nvSpPr>
      <dsp:spPr>
        <a:xfrm>
          <a:off x="2137406" y="19457"/>
          <a:ext cx="667727" cy="667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2137406" y="19457"/>
        <a:ext cx="667727" cy="667727"/>
      </dsp:txXfrm>
    </dsp:sp>
    <dsp:sp modelId="{2209E4FA-6CBF-4DFC-B519-445E704B6008}">
      <dsp:nvSpPr>
        <dsp:cNvPr id="0" name=""/>
        <dsp:cNvSpPr/>
      </dsp:nvSpPr>
      <dsp:spPr>
        <a:xfrm>
          <a:off x="566860" y="163"/>
          <a:ext cx="2503262" cy="2503262"/>
        </a:xfrm>
        <a:prstGeom prst="circularArrow">
          <a:avLst>
            <a:gd name="adj1" fmla="val 5201"/>
            <a:gd name="adj2" fmla="val 336010"/>
            <a:gd name="adj3" fmla="val 21292847"/>
            <a:gd name="adj4" fmla="val 19766584"/>
            <a:gd name="adj5" fmla="val 6068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295A0C-B0F6-4A50-B014-C3537F426593}">
      <dsp:nvSpPr>
        <dsp:cNvPr id="0" name=""/>
        <dsp:cNvSpPr/>
      </dsp:nvSpPr>
      <dsp:spPr>
        <a:xfrm>
          <a:off x="2540846" y="1261116"/>
          <a:ext cx="667727" cy="667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2540846" y="1261116"/>
        <a:ext cx="667727" cy="667727"/>
      </dsp:txXfrm>
    </dsp:sp>
    <dsp:sp modelId="{339FA438-D2B0-4202-9352-4EB0616D87A1}">
      <dsp:nvSpPr>
        <dsp:cNvPr id="0" name=""/>
        <dsp:cNvSpPr/>
      </dsp:nvSpPr>
      <dsp:spPr>
        <a:xfrm>
          <a:off x="566860" y="163"/>
          <a:ext cx="2503262" cy="2503262"/>
        </a:xfrm>
        <a:prstGeom prst="circularArrow">
          <a:avLst>
            <a:gd name="adj1" fmla="val 5201"/>
            <a:gd name="adj2" fmla="val 336010"/>
            <a:gd name="adj3" fmla="val 4014289"/>
            <a:gd name="adj4" fmla="val 2253808"/>
            <a:gd name="adj5" fmla="val 6068"/>
          </a:avLst>
        </a:prstGeom>
        <a:solidFill>
          <a:schemeClr val="accent4">
            <a:hueOff val="2598923"/>
            <a:satOff val="-11992"/>
            <a:lumOff val="44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963517-47FE-4BC1-81E1-905C0DF89D45}">
      <dsp:nvSpPr>
        <dsp:cNvPr id="0" name=""/>
        <dsp:cNvSpPr/>
      </dsp:nvSpPr>
      <dsp:spPr>
        <a:xfrm>
          <a:off x="1484628" y="2028503"/>
          <a:ext cx="667727" cy="667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1484628" y="2028503"/>
        <a:ext cx="667727" cy="667727"/>
      </dsp:txXfrm>
    </dsp:sp>
    <dsp:sp modelId="{73A38AB1-371A-4A6C-BD63-B5FA53453B68}">
      <dsp:nvSpPr>
        <dsp:cNvPr id="0" name=""/>
        <dsp:cNvSpPr/>
      </dsp:nvSpPr>
      <dsp:spPr>
        <a:xfrm>
          <a:off x="566860" y="163"/>
          <a:ext cx="2503262" cy="2503262"/>
        </a:xfrm>
        <a:prstGeom prst="circularArrow">
          <a:avLst>
            <a:gd name="adj1" fmla="val 5201"/>
            <a:gd name="adj2" fmla="val 336010"/>
            <a:gd name="adj3" fmla="val 8210182"/>
            <a:gd name="adj4" fmla="val 6449701"/>
            <a:gd name="adj5" fmla="val 6068"/>
          </a:avLst>
        </a:prstGeom>
        <a:solidFill>
          <a:schemeClr val="accent4">
            <a:hueOff val="5197846"/>
            <a:satOff val="-23984"/>
            <a:lumOff val="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3B82C9-B3E8-4A4B-A995-0ADFD0A6C675}">
      <dsp:nvSpPr>
        <dsp:cNvPr id="0" name=""/>
        <dsp:cNvSpPr/>
      </dsp:nvSpPr>
      <dsp:spPr>
        <a:xfrm>
          <a:off x="428410" y="1261116"/>
          <a:ext cx="667727" cy="667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428410" y="1261116"/>
        <a:ext cx="667727" cy="667727"/>
      </dsp:txXfrm>
    </dsp:sp>
    <dsp:sp modelId="{D9B0553C-0FD6-4EBC-B988-B45CF2F836A3}">
      <dsp:nvSpPr>
        <dsp:cNvPr id="0" name=""/>
        <dsp:cNvSpPr/>
      </dsp:nvSpPr>
      <dsp:spPr>
        <a:xfrm>
          <a:off x="566860" y="163"/>
          <a:ext cx="2503262" cy="2503262"/>
        </a:xfrm>
        <a:prstGeom prst="circularArrow">
          <a:avLst>
            <a:gd name="adj1" fmla="val 5201"/>
            <a:gd name="adj2" fmla="val 336010"/>
            <a:gd name="adj3" fmla="val 12297406"/>
            <a:gd name="adj4" fmla="val 10771143"/>
            <a:gd name="adj5" fmla="val 6068"/>
          </a:avLst>
        </a:prstGeom>
        <a:solidFill>
          <a:schemeClr val="accent4">
            <a:hueOff val="7796769"/>
            <a:satOff val="-35976"/>
            <a:lumOff val="13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5D0351-1239-4677-8F96-A717D307FA26}">
      <dsp:nvSpPr>
        <dsp:cNvPr id="0" name=""/>
        <dsp:cNvSpPr/>
      </dsp:nvSpPr>
      <dsp:spPr>
        <a:xfrm>
          <a:off x="831849" y="19457"/>
          <a:ext cx="667727" cy="667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000" kern="1200"/>
        </a:p>
      </dsp:txBody>
      <dsp:txXfrm>
        <a:off x="831849" y="19457"/>
        <a:ext cx="667727" cy="667727"/>
      </dsp:txXfrm>
    </dsp:sp>
    <dsp:sp modelId="{80212B64-95F8-416E-B5C2-62505E99F6DC}">
      <dsp:nvSpPr>
        <dsp:cNvPr id="0" name=""/>
        <dsp:cNvSpPr/>
      </dsp:nvSpPr>
      <dsp:spPr>
        <a:xfrm>
          <a:off x="566860" y="163"/>
          <a:ext cx="2503262" cy="2503262"/>
        </a:xfrm>
        <a:prstGeom prst="circularArrow">
          <a:avLst>
            <a:gd name="adj1" fmla="val 5201"/>
            <a:gd name="adj2" fmla="val 336010"/>
            <a:gd name="adj3" fmla="val 16865279"/>
            <a:gd name="adj4" fmla="val 15198711"/>
            <a:gd name="adj5" fmla="val 6068"/>
          </a:avLst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4.wmf"/><Relationship Id="rId2" Type="http://schemas.openxmlformats.org/officeDocument/2006/relationships/image" Target="../media/image33.wmf"/><Relationship Id="rId1" Type="http://schemas.openxmlformats.org/officeDocument/2006/relationships/image" Target="../media/image32.wmf"/><Relationship Id="rId6" Type="http://schemas.openxmlformats.org/officeDocument/2006/relationships/image" Target="../media/image37.wmf"/><Relationship Id="rId5" Type="http://schemas.openxmlformats.org/officeDocument/2006/relationships/image" Target="../media/image36.wmf"/><Relationship Id="rId4" Type="http://schemas.openxmlformats.org/officeDocument/2006/relationships/image" Target="../media/image35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4165" y="1355149"/>
            <a:ext cx="10587196" cy="2882806"/>
          </a:xfrm>
        </p:spPr>
        <p:txBody>
          <a:bodyPr anchor="b"/>
          <a:lstStyle>
            <a:lvl1pPr algn="ctr">
              <a:defRPr sz="724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6941" y="4349128"/>
            <a:ext cx="9341644" cy="1999179"/>
          </a:xfrm>
        </p:spPr>
        <p:txBody>
          <a:bodyPr/>
          <a:lstStyle>
            <a:lvl1pPr marL="0" indent="0" algn="ctr">
              <a:buNone/>
              <a:defRPr sz="2898"/>
            </a:lvl1pPr>
            <a:lvl2pPr marL="552023" indent="0" algn="ctr">
              <a:buNone/>
              <a:defRPr sz="2415"/>
            </a:lvl2pPr>
            <a:lvl3pPr marL="1104047" indent="0" algn="ctr">
              <a:buNone/>
              <a:defRPr sz="2173"/>
            </a:lvl3pPr>
            <a:lvl4pPr marL="1656070" indent="0" algn="ctr">
              <a:buNone/>
              <a:defRPr sz="1932"/>
            </a:lvl4pPr>
            <a:lvl5pPr marL="2208093" indent="0" algn="ctr">
              <a:buNone/>
              <a:defRPr sz="1932"/>
            </a:lvl5pPr>
            <a:lvl6pPr marL="2760116" indent="0" algn="ctr">
              <a:buNone/>
              <a:defRPr sz="1932"/>
            </a:lvl6pPr>
            <a:lvl7pPr marL="3312140" indent="0" algn="ctr">
              <a:buNone/>
              <a:defRPr sz="1932"/>
            </a:lvl7pPr>
            <a:lvl8pPr marL="3864163" indent="0" algn="ctr">
              <a:buNone/>
              <a:defRPr sz="1932"/>
            </a:lvl8pPr>
            <a:lvl9pPr marL="4416186" indent="0" algn="ctr">
              <a:buNone/>
              <a:defRPr sz="1932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5384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2072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3486" y="440855"/>
            <a:ext cx="2685723" cy="7017256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6318" y="440855"/>
            <a:ext cx="7901474" cy="7017256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19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371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831" y="2064352"/>
            <a:ext cx="10742890" cy="3444416"/>
          </a:xfrm>
        </p:spPr>
        <p:txBody>
          <a:bodyPr anchor="b"/>
          <a:lstStyle>
            <a:lvl1pPr>
              <a:defRPr sz="724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831" y="5541353"/>
            <a:ext cx="10742890" cy="1811337"/>
          </a:xfrm>
        </p:spPr>
        <p:txBody>
          <a:bodyPr/>
          <a:lstStyle>
            <a:lvl1pPr marL="0" indent="0">
              <a:buNone/>
              <a:defRPr sz="2898">
                <a:solidFill>
                  <a:schemeClr val="tx1"/>
                </a:solidFill>
              </a:defRPr>
            </a:lvl1pPr>
            <a:lvl2pPr marL="552023" indent="0">
              <a:buNone/>
              <a:defRPr sz="2415">
                <a:solidFill>
                  <a:schemeClr val="tx1">
                    <a:tint val="75000"/>
                  </a:schemeClr>
                </a:solidFill>
              </a:defRPr>
            </a:lvl2pPr>
            <a:lvl3pPr marL="1104047" indent="0">
              <a:buNone/>
              <a:defRPr sz="2173">
                <a:solidFill>
                  <a:schemeClr val="tx1">
                    <a:tint val="75000"/>
                  </a:schemeClr>
                </a:solidFill>
              </a:defRPr>
            </a:lvl3pPr>
            <a:lvl4pPr marL="165607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4pPr>
            <a:lvl5pPr marL="220809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5pPr>
            <a:lvl6pPr marL="276011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6pPr>
            <a:lvl7pPr marL="331214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7pPr>
            <a:lvl8pPr marL="386416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8pPr>
            <a:lvl9pPr marL="441618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5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317" y="2204273"/>
            <a:ext cx="5293598" cy="5253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610" y="2204273"/>
            <a:ext cx="5293598" cy="5253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4872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440856"/>
            <a:ext cx="10742890" cy="160049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941" y="2029849"/>
            <a:ext cx="526927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941" y="3024646"/>
            <a:ext cx="5269270" cy="444879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5610" y="2029849"/>
            <a:ext cx="529522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5610" y="3024646"/>
            <a:ext cx="5295220" cy="444879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735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9732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16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5220" y="1192226"/>
            <a:ext cx="6305610" cy="5884451"/>
          </a:xfrm>
        </p:spPr>
        <p:txBody>
          <a:bodyPr/>
          <a:lstStyle>
            <a:lvl1pPr>
              <a:defRPr sz="3864"/>
            </a:lvl1pPr>
            <a:lvl2pPr>
              <a:defRPr sz="3381"/>
            </a:lvl2pPr>
            <a:lvl3pPr>
              <a:defRPr sz="2898"/>
            </a:lvl3pPr>
            <a:lvl4pPr>
              <a:defRPr sz="2415"/>
            </a:lvl4pPr>
            <a:lvl5pPr>
              <a:defRPr sz="2415"/>
            </a:lvl5pPr>
            <a:lvl6pPr>
              <a:defRPr sz="2415"/>
            </a:lvl6pPr>
            <a:lvl7pPr>
              <a:defRPr sz="2415"/>
            </a:lvl7pPr>
            <a:lvl8pPr>
              <a:defRPr sz="2415"/>
            </a:lvl8pPr>
            <a:lvl9pPr>
              <a:defRPr sz="241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255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295220" y="1192226"/>
            <a:ext cx="6305610" cy="5884451"/>
          </a:xfrm>
        </p:spPr>
        <p:txBody>
          <a:bodyPr anchor="t"/>
          <a:lstStyle>
            <a:lvl1pPr marL="0" indent="0">
              <a:buNone/>
              <a:defRPr sz="3864"/>
            </a:lvl1pPr>
            <a:lvl2pPr marL="552023" indent="0">
              <a:buNone/>
              <a:defRPr sz="3381"/>
            </a:lvl2pPr>
            <a:lvl3pPr marL="1104047" indent="0">
              <a:buNone/>
              <a:defRPr sz="2898"/>
            </a:lvl3pPr>
            <a:lvl4pPr marL="1656070" indent="0">
              <a:buNone/>
              <a:defRPr sz="2415"/>
            </a:lvl4pPr>
            <a:lvl5pPr marL="2208093" indent="0">
              <a:buNone/>
              <a:defRPr sz="2415"/>
            </a:lvl5pPr>
            <a:lvl6pPr marL="2760116" indent="0">
              <a:buNone/>
              <a:defRPr sz="2415"/>
            </a:lvl6pPr>
            <a:lvl7pPr marL="3312140" indent="0">
              <a:buNone/>
              <a:defRPr sz="2415"/>
            </a:lvl7pPr>
            <a:lvl8pPr marL="3864163" indent="0">
              <a:buNone/>
              <a:defRPr sz="2415"/>
            </a:lvl8pPr>
            <a:lvl9pPr marL="4416186" indent="0">
              <a:buNone/>
              <a:defRPr sz="2415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66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6318" y="440856"/>
            <a:ext cx="10742890" cy="1600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318" y="2204273"/>
            <a:ext cx="10742890" cy="5253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6317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1DD96-37C3-422A-9A2A-9073EF793C2B}" type="datetimeFigureOut">
              <a:rPr lang="zh-CN" altLang="en-US" smtClean="0"/>
              <a:t>2020/11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25893" y="7674706"/>
            <a:ext cx="4203740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715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924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104047" rtl="0" eaLnBrk="1" latinLnBrk="0" hangingPunct="1">
        <a:lnSpc>
          <a:spcPct val="90000"/>
        </a:lnSpc>
        <a:spcBef>
          <a:spcPct val="0"/>
        </a:spcBef>
        <a:buNone/>
        <a:defRPr sz="53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6012" indent="-276012" algn="l" defTabSz="1104047" rtl="0" eaLnBrk="1" latinLnBrk="0" hangingPunct="1">
        <a:lnSpc>
          <a:spcPct val="90000"/>
        </a:lnSpc>
        <a:spcBef>
          <a:spcPts val="1207"/>
        </a:spcBef>
        <a:buFont typeface="Arial" panose="020B0604020202020204" pitchFamily="34" charset="0"/>
        <a:buChar char="•"/>
        <a:defRPr sz="3381" kern="1200">
          <a:solidFill>
            <a:schemeClr val="tx1"/>
          </a:solidFill>
          <a:latin typeface="+mn-lt"/>
          <a:ea typeface="+mn-ea"/>
          <a:cs typeface="+mn-cs"/>
        </a:defRPr>
      </a:lvl1pPr>
      <a:lvl2pPr marL="82803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898" kern="1200">
          <a:solidFill>
            <a:schemeClr val="tx1"/>
          </a:solidFill>
          <a:latin typeface="+mn-lt"/>
          <a:ea typeface="+mn-ea"/>
          <a:cs typeface="+mn-cs"/>
        </a:defRPr>
      </a:lvl2pPr>
      <a:lvl3pPr marL="138005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93208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48410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303612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58815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414017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69219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1pPr>
      <a:lvl2pPr marL="55202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2pPr>
      <a:lvl3pPr marL="1104047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3pPr>
      <a:lvl4pPr marL="165607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20809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276011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31214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386416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41618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diagramData" Target="../diagrams/data1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52.png"/><Relationship Id="rId17" Type="http://schemas.microsoft.com/office/2007/relationships/diagramDrawing" Target="../diagrams/drawing1.xml"/><Relationship Id="rId2" Type="http://schemas.openxmlformats.org/officeDocument/2006/relationships/tags" Target="../tags/tag11.xml"/><Relationship Id="rId16" Type="http://schemas.openxmlformats.org/officeDocument/2006/relationships/diagramColors" Target="../diagrams/colors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49.png"/><Relationship Id="rId5" Type="http://schemas.openxmlformats.org/officeDocument/2006/relationships/tags" Target="../tags/tag14.xml"/><Relationship Id="rId15" Type="http://schemas.openxmlformats.org/officeDocument/2006/relationships/diagramQuickStyle" Target="../diagrams/quickStyle1.xml"/><Relationship Id="rId10" Type="http://schemas.openxmlformats.org/officeDocument/2006/relationships/image" Target="../media/image48.png"/><Relationship Id="rId4" Type="http://schemas.openxmlformats.org/officeDocument/2006/relationships/tags" Target="../tags/tag13.xml"/><Relationship Id="rId9" Type="http://schemas.openxmlformats.org/officeDocument/2006/relationships/image" Target="../media/image47.png"/><Relationship Id="rId1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microsoft.com/office/2007/relationships/hdphoto" Target="../media/hdphoto1.wdp"/><Relationship Id="rId7" Type="http://schemas.openxmlformats.org/officeDocument/2006/relationships/image" Target="../media/image7.jfif"/><Relationship Id="rId12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fif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8.jp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" Type="http://schemas.openxmlformats.org/officeDocument/2006/relationships/image" Target="../media/image13.jpeg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5" Type="http://schemas.microsoft.com/office/2007/relationships/hdphoto" Target="../media/hdphoto2.wdp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w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41.png"/><Relationship Id="rId3" Type="http://schemas.openxmlformats.org/officeDocument/2006/relationships/image" Target="../media/image38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35.wmf"/><Relationship Id="rId17" Type="http://schemas.openxmlformats.org/officeDocument/2006/relationships/image" Target="../media/image4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7.wmf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w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34.wmf"/><Relationship Id="rId19" Type="http://schemas.openxmlformats.org/officeDocument/2006/relationships/image" Target="../media/image42.png"/><Relationship Id="rId4" Type="http://schemas.openxmlformats.org/officeDocument/2006/relationships/image" Target="../media/image39.pn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6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wmf"/><Relationship Id="rId3" Type="http://schemas.openxmlformats.org/officeDocument/2006/relationships/tags" Target="../tags/tag3.xml"/><Relationship Id="rId21" Type="http://schemas.openxmlformats.org/officeDocument/2006/relationships/image" Target="../media/image55.emf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5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8.png"/><Relationship Id="rId22" Type="http://schemas.openxmlformats.org/officeDocument/2006/relationships/image" Target="../media/image56.emf"/><Relationship Id="rId27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wmf"/><Relationship Id="rId2" Type="http://schemas.openxmlformats.org/officeDocument/2006/relationships/image" Target="../media/image63.w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wmf"/><Relationship Id="rId5" Type="http://schemas.openxmlformats.org/officeDocument/2006/relationships/image" Target="../media/image66.wmf"/><Relationship Id="rId4" Type="http://schemas.openxmlformats.org/officeDocument/2006/relationships/image" Target="../media/image65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856271" y="1360077"/>
            <a:ext cx="10857890" cy="5624679"/>
            <a:chOff x="657543" y="1651635"/>
            <a:chExt cx="8410942" cy="4663014"/>
          </a:xfrm>
        </p:grpSpPr>
        <p:pic>
          <p:nvPicPr>
            <p:cNvPr id="5" name="图片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543" y="1692910"/>
              <a:ext cx="3558885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文本框 2"/>
            <p:cNvSpPr txBox="1"/>
            <p:nvPr/>
          </p:nvSpPr>
          <p:spPr>
            <a:xfrm>
              <a:off x="657543" y="4094798"/>
              <a:ext cx="4233862" cy="2219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78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78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420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2437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352,6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5</a:t>
              </a:r>
            </a:p>
          </p:txBody>
        </p:sp>
        <p:cxnSp>
          <p:nvCxnSpPr>
            <p:cNvPr id="7" name="直接连接符 8"/>
            <p:cNvCxnSpPr>
              <a:cxnSpLocks noChangeShapeType="1"/>
            </p:cNvCxnSpPr>
            <p:nvPr/>
          </p:nvCxnSpPr>
          <p:spPr bwMode="auto">
            <a:xfrm flipH="1" flipV="1">
              <a:off x="4688566" y="1651635"/>
              <a:ext cx="12700" cy="4603750"/>
            </a:xfrm>
            <a:prstGeom prst="line">
              <a:avLst/>
            </a:prstGeom>
            <a:noFill/>
            <a:ln w="25400" algn="ctr">
              <a:solidFill>
                <a:srgbClr val="0070C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6303" y="1692909"/>
              <a:ext cx="3501144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9" name="矩形 8"/>
            <p:cNvSpPr/>
            <p:nvPr/>
          </p:nvSpPr>
          <p:spPr>
            <a:xfrm>
              <a:off x="5266302" y="4094798"/>
              <a:ext cx="3802183" cy="22198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hang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182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1,60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9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755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53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2950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>
            <a:extLst>
              <a:ext uri="{FF2B5EF4-FFF2-40B4-BE49-F238E27FC236}">
                <a16:creationId xmlns:a16="http://schemas.microsoft.com/office/drawing/2014/main" id="{91ADC4E3-80C3-4CE9-B92C-A4477394734D}"/>
              </a:ext>
            </a:extLst>
          </p:cNvPr>
          <p:cNvGrpSpPr/>
          <p:nvPr/>
        </p:nvGrpSpPr>
        <p:grpSpPr>
          <a:xfrm>
            <a:off x="179092" y="144890"/>
            <a:ext cx="9557339" cy="5062996"/>
            <a:chOff x="1877463" y="1087868"/>
            <a:chExt cx="9557339" cy="5062996"/>
          </a:xfrm>
        </p:grpSpPr>
        <p:pic>
          <p:nvPicPr>
            <p:cNvPr id="8" name="Picture 9" descr="house">
              <a:extLst>
                <a:ext uri="{FF2B5EF4-FFF2-40B4-BE49-F238E27FC236}">
                  <a16:creationId xmlns:a16="http://schemas.microsoft.com/office/drawing/2014/main" id="{9425EC27-9416-4D2A-BCAE-20D3B0DD0E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301908" y="3191637"/>
              <a:ext cx="2773065" cy="2209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Oval 11">
              <a:extLst>
                <a:ext uri="{FF2B5EF4-FFF2-40B4-BE49-F238E27FC236}">
                  <a16:creationId xmlns:a16="http://schemas.microsoft.com/office/drawing/2014/main" id="{B75F7F2D-3F29-4D21-9B1E-86C9CCC24A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2998" y="2710625"/>
              <a:ext cx="2344738" cy="2638425"/>
            </a:xfrm>
            <a:prstGeom prst="ellipse">
              <a:avLst/>
            </a:prstGeom>
            <a:noFill/>
            <a:ln w="28575">
              <a:solidFill>
                <a:srgbClr val="557799"/>
              </a:solidFill>
              <a:prstDash val="lgDash"/>
              <a:round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  <a:defRPr/>
              </a:pPr>
              <a:endParaRPr lang="zh-CN" altLang="en-US" sz="100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0" name="组合 12">
              <a:extLst>
                <a:ext uri="{FF2B5EF4-FFF2-40B4-BE49-F238E27FC236}">
                  <a16:creationId xmlns:a16="http://schemas.microsoft.com/office/drawing/2014/main" id="{E580F9CC-15D6-46A2-9240-AE9046A024D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68609" y="4891850"/>
              <a:ext cx="706362" cy="771525"/>
              <a:chOff x="1979949" y="3022959"/>
              <a:chExt cx="855721" cy="906407"/>
            </a:xfrm>
          </p:grpSpPr>
          <p:sp>
            <p:nvSpPr>
              <p:cNvPr id="546" name="Freeform 439">
                <a:extLst>
                  <a:ext uri="{FF2B5EF4-FFF2-40B4-BE49-F238E27FC236}">
                    <a16:creationId xmlns:a16="http://schemas.microsoft.com/office/drawing/2014/main" id="{A2794078-E028-40DB-B6B1-A21F60EA0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4711" y="3237634"/>
                <a:ext cx="330959" cy="190823"/>
              </a:xfrm>
              <a:custGeom>
                <a:avLst/>
                <a:gdLst>
                  <a:gd name="T0" fmla="*/ 2147483646 w 111"/>
                  <a:gd name="T1" fmla="*/ 0 h 64"/>
                  <a:gd name="T2" fmla="*/ 2147483646 w 111"/>
                  <a:gd name="T3" fmla="*/ 2147483646 h 64"/>
                  <a:gd name="T4" fmla="*/ 2147483646 w 111"/>
                  <a:gd name="T5" fmla="*/ 2147483646 h 64"/>
                  <a:gd name="T6" fmla="*/ 2147483646 w 111"/>
                  <a:gd name="T7" fmla="*/ 2147483646 h 64"/>
                  <a:gd name="T8" fmla="*/ 0 w 111"/>
                  <a:gd name="T9" fmla="*/ 2147483646 h 64"/>
                  <a:gd name="T10" fmla="*/ 0 w 111"/>
                  <a:gd name="T11" fmla="*/ 0 h 64"/>
                  <a:gd name="T12" fmla="*/ 2147483646 w 111"/>
                  <a:gd name="T13" fmla="*/ 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1" h="64">
                    <a:moveTo>
                      <a:pt x="111" y="0"/>
                    </a:moveTo>
                    <a:lnTo>
                      <a:pt x="111" y="43"/>
                    </a:lnTo>
                    <a:lnTo>
                      <a:pt x="83" y="64"/>
                    </a:lnTo>
                    <a:lnTo>
                      <a:pt x="28" y="64"/>
                    </a:lnTo>
                    <a:lnTo>
                      <a:pt x="0" y="43"/>
                    </a:lnTo>
                    <a:lnTo>
                      <a:pt x="0" y="0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7" name="Freeform 440">
                <a:extLst>
                  <a:ext uri="{FF2B5EF4-FFF2-40B4-BE49-F238E27FC236}">
                    <a16:creationId xmlns:a16="http://schemas.microsoft.com/office/drawing/2014/main" id="{88152C2F-05E5-4E86-A7E4-95298188B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4711" y="3178002"/>
                <a:ext cx="330959" cy="38762"/>
              </a:xfrm>
              <a:custGeom>
                <a:avLst/>
                <a:gdLst>
                  <a:gd name="T0" fmla="*/ 2147483646 w 111"/>
                  <a:gd name="T1" fmla="*/ 0 h 13"/>
                  <a:gd name="T2" fmla="*/ 2147483646 w 111"/>
                  <a:gd name="T3" fmla="*/ 2147483646 h 13"/>
                  <a:gd name="T4" fmla="*/ 0 w 111"/>
                  <a:gd name="T5" fmla="*/ 2147483646 h 13"/>
                  <a:gd name="T6" fmla="*/ 0 w 111"/>
                  <a:gd name="T7" fmla="*/ 0 h 13"/>
                  <a:gd name="T8" fmla="*/ 2147483646 w 111"/>
                  <a:gd name="T9" fmla="*/ 0 h 13"/>
                  <a:gd name="T10" fmla="*/ 2147483646 w 111"/>
                  <a:gd name="T11" fmla="*/ 0 h 13"/>
                  <a:gd name="T12" fmla="*/ 2147483646 w 111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1" h="13">
                    <a:moveTo>
                      <a:pt x="111" y="0"/>
                    </a:moveTo>
                    <a:lnTo>
                      <a:pt x="111" y="13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6" y="0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8" name="Freeform 441">
                <a:extLst>
                  <a:ext uri="{FF2B5EF4-FFF2-40B4-BE49-F238E27FC236}">
                    <a16:creationId xmlns:a16="http://schemas.microsoft.com/office/drawing/2014/main" id="{A8183286-974C-4614-96C1-05BCDC1D3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8333" y="3022959"/>
                <a:ext cx="50688" cy="131191"/>
              </a:xfrm>
              <a:custGeom>
                <a:avLst/>
                <a:gdLst>
                  <a:gd name="T0" fmla="*/ 2147483646 w 15"/>
                  <a:gd name="T1" fmla="*/ 2147483646 h 39"/>
                  <a:gd name="T2" fmla="*/ 2147483646 w 15"/>
                  <a:gd name="T3" fmla="*/ 2147483646 h 39"/>
                  <a:gd name="T4" fmla="*/ 0 w 15"/>
                  <a:gd name="T5" fmla="*/ 2147483646 h 39"/>
                  <a:gd name="T6" fmla="*/ 0 w 15"/>
                  <a:gd name="T7" fmla="*/ 2147483646 h 39"/>
                  <a:gd name="T8" fmla="*/ 2147483646 w 15"/>
                  <a:gd name="T9" fmla="*/ 0 h 39"/>
                  <a:gd name="T10" fmla="*/ 2147483646 w 15"/>
                  <a:gd name="T11" fmla="*/ 2147483646 h 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9">
                    <a:moveTo>
                      <a:pt x="15" y="8"/>
                    </a:moveTo>
                    <a:cubicBezTo>
                      <a:pt x="15" y="39"/>
                      <a:pt x="15" y="39"/>
                      <a:pt x="15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5" y="4"/>
                      <a:pt x="15" y="8"/>
                    </a:cubicBez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9" name="Freeform 442">
                <a:extLst>
                  <a:ext uri="{FF2B5EF4-FFF2-40B4-BE49-F238E27FC236}">
                    <a16:creationId xmlns:a16="http://schemas.microsoft.com/office/drawing/2014/main" id="{AEDE6B01-6086-4E2A-9A70-5BF74F136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9350" y="3455290"/>
                <a:ext cx="462149" cy="316050"/>
              </a:xfrm>
              <a:custGeom>
                <a:avLst/>
                <a:gdLst>
                  <a:gd name="T0" fmla="*/ 2147483646 w 155"/>
                  <a:gd name="T1" fmla="*/ 2147483646 h 106"/>
                  <a:gd name="T2" fmla="*/ 2147483646 w 155"/>
                  <a:gd name="T3" fmla="*/ 2147483646 h 106"/>
                  <a:gd name="T4" fmla="*/ 2147483646 w 155"/>
                  <a:gd name="T5" fmla="*/ 2147483646 h 106"/>
                  <a:gd name="T6" fmla="*/ 0 w 155"/>
                  <a:gd name="T7" fmla="*/ 2147483646 h 106"/>
                  <a:gd name="T8" fmla="*/ 0 w 155"/>
                  <a:gd name="T9" fmla="*/ 2147483646 h 106"/>
                  <a:gd name="T10" fmla="*/ 2147483646 w 155"/>
                  <a:gd name="T11" fmla="*/ 2147483646 h 106"/>
                  <a:gd name="T12" fmla="*/ 2147483646 w 155"/>
                  <a:gd name="T13" fmla="*/ 0 h 106"/>
                  <a:gd name="T14" fmla="*/ 2147483646 w 155"/>
                  <a:gd name="T15" fmla="*/ 0 h 106"/>
                  <a:gd name="T16" fmla="*/ 2147483646 w 155"/>
                  <a:gd name="T17" fmla="*/ 2147483646 h 10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5" h="106">
                    <a:moveTo>
                      <a:pt x="155" y="84"/>
                    </a:moveTo>
                    <a:lnTo>
                      <a:pt x="155" y="106"/>
                    </a:lnTo>
                    <a:lnTo>
                      <a:pt x="134" y="106"/>
                    </a:lnTo>
                    <a:lnTo>
                      <a:pt x="0" y="106"/>
                    </a:lnTo>
                    <a:lnTo>
                      <a:pt x="0" y="84"/>
                    </a:lnTo>
                    <a:lnTo>
                      <a:pt x="134" y="84"/>
                    </a:lnTo>
                    <a:lnTo>
                      <a:pt x="134" y="0"/>
                    </a:lnTo>
                    <a:lnTo>
                      <a:pt x="155" y="0"/>
                    </a:lnTo>
                    <a:lnTo>
                      <a:pt x="155" y="84"/>
                    </a:ln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0" name="Freeform 443">
                <a:extLst>
                  <a:ext uri="{FF2B5EF4-FFF2-40B4-BE49-F238E27FC236}">
                    <a16:creationId xmlns:a16="http://schemas.microsoft.com/office/drawing/2014/main" id="{46BC94F6-4D78-43AE-972D-E85DD9CA3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1363" y="3022959"/>
                <a:ext cx="50688" cy="131191"/>
              </a:xfrm>
              <a:custGeom>
                <a:avLst/>
                <a:gdLst>
                  <a:gd name="T0" fmla="*/ 2147483646 w 15"/>
                  <a:gd name="T1" fmla="*/ 2147483646 h 39"/>
                  <a:gd name="T2" fmla="*/ 2147483646 w 15"/>
                  <a:gd name="T3" fmla="*/ 2147483646 h 39"/>
                  <a:gd name="T4" fmla="*/ 0 w 15"/>
                  <a:gd name="T5" fmla="*/ 2147483646 h 39"/>
                  <a:gd name="T6" fmla="*/ 0 w 15"/>
                  <a:gd name="T7" fmla="*/ 2147483646 h 39"/>
                  <a:gd name="T8" fmla="*/ 2147483646 w 15"/>
                  <a:gd name="T9" fmla="*/ 0 h 39"/>
                  <a:gd name="T10" fmla="*/ 2147483646 w 15"/>
                  <a:gd name="T11" fmla="*/ 2147483646 h 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9">
                    <a:moveTo>
                      <a:pt x="15" y="8"/>
                    </a:moveTo>
                    <a:cubicBezTo>
                      <a:pt x="15" y="39"/>
                      <a:pt x="15" y="39"/>
                      <a:pt x="15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4"/>
                      <a:pt x="15" y="8"/>
                    </a:cubicBez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1" name="Freeform 444">
                <a:extLst>
                  <a:ext uri="{FF2B5EF4-FFF2-40B4-BE49-F238E27FC236}">
                    <a16:creationId xmlns:a16="http://schemas.microsoft.com/office/drawing/2014/main" id="{918EBD5E-5ECB-4866-9AA0-AA4165D1C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949" y="3213781"/>
                <a:ext cx="477056" cy="715585"/>
              </a:xfrm>
              <a:custGeom>
                <a:avLst/>
                <a:gdLst>
                  <a:gd name="T0" fmla="*/ 2147483646 w 160"/>
                  <a:gd name="T1" fmla="*/ 2147483646 h 240"/>
                  <a:gd name="T2" fmla="*/ 2147483646 w 160"/>
                  <a:gd name="T3" fmla="*/ 2147483646 h 240"/>
                  <a:gd name="T4" fmla="*/ 0 w 160"/>
                  <a:gd name="T5" fmla="*/ 2147483646 h 240"/>
                  <a:gd name="T6" fmla="*/ 0 w 160"/>
                  <a:gd name="T7" fmla="*/ 0 h 240"/>
                  <a:gd name="T8" fmla="*/ 2147483646 w 160"/>
                  <a:gd name="T9" fmla="*/ 0 h 240"/>
                  <a:gd name="T10" fmla="*/ 2147483646 w 160"/>
                  <a:gd name="T11" fmla="*/ 2147483646 h 240"/>
                  <a:gd name="T12" fmla="*/ 2147483646 w 160"/>
                  <a:gd name="T13" fmla="*/ 2147483646 h 240"/>
                  <a:gd name="T14" fmla="*/ 2147483646 w 160"/>
                  <a:gd name="T15" fmla="*/ 2147483646 h 240"/>
                  <a:gd name="T16" fmla="*/ 2147483646 w 160"/>
                  <a:gd name="T17" fmla="*/ 2147483646 h 240"/>
                  <a:gd name="T18" fmla="*/ 2147483646 w 160"/>
                  <a:gd name="T19" fmla="*/ 2147483646 h 240"/>
                  <a:gd name="T20" fmla="*/ 2147483646 w 160"/>
                  <a:gd name="T21" fmla="*/ 2147483646 h 240"/>
                  <a:gd name="T22" fmla="*/ 2147483646 w 160"/>
                  <a:gd name="T23" fmla="*/ 2147483646 h 240"/>
                  <a:gd name="T24" fmla="*/ 2147483646 w 160"/>
                  <a:gd name="T25" fmla="*/ 2147483646 h 2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0" h="240">
                    <a:moveTo>
                      <a:pt x="160" y="206"/>
                    </a:moveTo>
                    <a:lnTo>
                      <a:pt x="160" y="240"/>
                    </a:lnTo>
                    <a:lnTo>
                      <a:pt x="0" y="240"/>
                    </a:lnTo>
                    <a:lnTo>
                      <a:pt x="0" y="0"/>
                    </a:lnTo>
                    <a:lnTo>
                      <a:pt x="160" y="0"/>
                    </a:lnTo>
                    <a:lnTo>
                      <a:pt x="160" y="146"/>
                    </a:lnTo>
                    <a:lnTo>
                      <a:pt x="142" y="146"/>
                    </a:lnTo>
                    <a:lnTo>
                      <a:pt x="142" y="19"/>
                    </a:lnTo>
                    <a:lnTo>
                      <a:pt x="16" y="19"/>
                    </a:lnTo>
                    <a:lnTo>
                      <a:pt x="16" y="220"/>
                    </a:lnTo>
                    <a:lnTo>
                      <a:pt x="142" y="220"/>
                    </a:lnTo>
                    <a:lnTo>
                      <a:pt x="142" y="206"/>
                    </a:lnTo>
                    <a:lnTo>
                      <a:pt x="160" y="206"/>
                    </a:ln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2" name="Freeform 445">
                <a:extLst>
                  <a:ext uri="{FF2B5EF4-FFF2-40B4-BE49-F238E27FC236}">
                    <a16:creationId xmlns:a16="http://schemas.microsoft.com/office/drawing/2014/main" id="{65A3B17B-4151-4212-BA48-081AD07AC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8343" y="3374788"/>
                <a:ext cx="280271" cy="250455"/>
              </a:xfrm>
              <a:custGeom>
                <a:avLst/>
                <a:gdLst>
                  <a:gd name="T0" fmla="*/ 2147483646 w 94"/>
                  <a:gd name="T1" fmla="*/ 0 h 84"/>
                  <a:gd name="T2" fmla="*/ 2147483646 w 94"/>
                  <a:gd name="T3" fmla="*/ 2147483646 h 84"/>
                  <a:gd name="T4" fmla="*/ 0 w 94"/>
                  <a:gd name="T5" fmla="*/ 2147483646 h 84"/>
                  <a:gd name="T6" fmla="*/ 0 w 94"/>
                  <a:gd name="T7" fmla="*/ 2147483646 h 84"/>
                  <a:gd name="T8" fmla="*/ 2147483646 w 94"/>
                  <a:gd name="T9" fmla="*/ 0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84">
                    <a:moveTo>
                      <a:pt x="94" y="0"/>
                    </a:moveTo>
                    <a:lnTo>
                      <a:pt x="94" y="84"/>
                    </a:lnTo>
                    <a:lnTo>
                      <a:pt x="0" y="84"/>
                    </a:lnTo>
                    <a:lnTo>
                      <a:pt x="0" y="27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3" name="Rectangle 446">
                <a:extLst>
                  <a:ext uri="{FF2B5EF4-FFF2-40B4-BE49-F238E27FC236}">
                    <a16:creationId xmlns:a16="http://schemas.microsoft.com/office/drawing/2014/main" id="{EDE999A9-3DDF-4E7C-B1DC-A5DB5C316A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0086" y="3040848"/>
                <a:ext cx="196786" cy="140136"/>
              </a:xfrm>
              <a:prstGeom prst="rect">
                <a:avLst/>
              </a:prstGeom>
              <a:solidFill>
                <a:srgbClr val="3E3A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组合 24">
              <a:extLst>
                <a:ext uri="{FF2B5EF4-FFF2-40B4-BE49-F238E27FC236}">
                  <a16:creationId xmlns:a16="http://schemas.microsoft.com/office/drawing/2014/main" id="{0FF75F49-D0E0-4114-A4A5-200EC25E4F0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92301" y="2174875"/>
              <a:ext cx="3550858" cy="3544888"/>
              <a:chOff x="156783" y="892584"/>
              <a:chExt cx="4287972" cy="4107853"/>
            </a:xfrm>
          </p:grpSpPr>
          <p:sp>
            <p:nvSpPr>
              <p:cNvPr id="462" name="Oval 11">
                <a:extLst>
                  <a:ext uri="{FF2B5EF4-FFF2-40B4-BE49-F238E27FC236}">
                    <a16:creationId xmlns:a16="http://schemas.microsoft.com/office/drawing/2014/main" id="{21AC66A3-EB8F-4D5E-B146-219046030E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441" y="1589797"/>
                <a:ext cx="2710702" cy="2715267"/>
              </a:xfrm>
              <a:prstGeom prst="ellipse">
                <a:avLst/>
              </a:prstGeom>
              <a:noFill/>
              <a:ln w="28575">
                <a:solidFill>
                  <a:srgbClr val="557799"/>
                </a:solidFill>
                <a:prstDash val="lgDash"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463" name="组合 26">
                <a:extLst>
                  <a:ext uri="{FF2B5EF4-FFF2-40B4-BE49-F238E27FC236}">
                    <a16:creationId xmlns:a16="http://schemas.microsoft.com/office/drawing/2014/main" id="{B00EA884-36FC-48AD-88A1-57681920D7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66585" y="3594738"/>
                <a:ext cx="1570585" cy="1405699"/>
                <a:chOff x="1711094" y="5465501"/>
                <a:chExt cx="965500" cy="977839"/>
              </a:xfrm>
            </p:grpSpPr>
            <p:sp>
              <p:nvSpPr>
                <p:cNvPr id="539" name="Freeform 317">
                  <a:extLst>
                    <a:ext uri="{FF2B5EF4-FFF2-40B4-BE49-F238E27FC236}">
                      <a16:creationId xmlns:a16="http://schemas.microsoft.com/office/drawing/2014/main" id="{3768710F-E350-4885-9822-948CB4A7F8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309518" y="5715360"/>
                  <a:ext cx="367076" cy="475038"/>
                </a:xfrm>
                <a:custGeom>
                  <a:avLst/>
                  <a:gdLst>
                    <a:gd name="T0" fmla="*/ 2147483646 w 119"/>
                    <a:gd name="T1" fmla="*/ 2147483646 h 154"/>
                    <a:gd name="T2" fmla="*/ 0 w 119"/>
                    <a:gd name="T3" fmla="*/ 0 h 154"/>
                    <a:gd name="T4" fmla="*/ 2147483646 w 119"/>
                    <a:gd name="T5" fmla="*/ 2147483646 h 154"/>
                    <a:gd name="T6" fmla="*/ 2147483646 w 119"/>
                    <a:gd name="T7" fmla="*/ 2147483646 h 154"/>
                    <a:gd name="T8" fmla="*/ 2147483646 w 119"/>
                    <a:gd name="T9" fmla="*/ 2147483646 h 154"/>
                    <a:gd name="T10" fmla="*/ 2147483646 w 119"/>
                    <a:gd name="T11" fmla="*/ 2147483646 h 154"/>
                    <a:gd name="T12" fmla="*/ 2147483646 w 119"/>
                    <a:gd name="T13" fmla="*/ 2147483646 h 154"/>
                    <a:gd name="T14" fmla="*/ 2147483646 w 119"/>
                    <a:gd name="T15" fmla="*/ 2147483646 h 154"/>
                    <a:gd name="T16" fmla="*/ 2147483646 w 119"/>
                    <a:gd name="T17" fmla="*/ 2147483646 h 154"/>
                    <a:gd name="T18" fmla="*/ 2147483646 w 119"/>
                    <a:gd name="T19" fmla="*/ 2147483646 h 154"/>
                    <a:gd name="T20" fmla="*/ 2147483646 w 119"/>
                    <a:gd name="T21" fmla="*/ 2147483646 h 154"/>
                    <a:gd name="T22" fmla="*/ 2147483646 w 119"/>
                    <a:gd name="T23" fmla="*/ 2147483646 h 154"/>
                    <a:gd name="T24" fmla="*/ 2147483646 w 119"/>
                    <a:gd name="T25" fmla="*/ 2147483646 h 154"/>
                    <a:gd name="T26" fmla="*/ 2147483646 w 119"/>
                    <a:gd name="T27" fmla="*/ 2147483646 h 154"/>
                    <a:gd name="T28" fmla="*/ 2147483646 w 119"/>
                    <a:gd name="T29" fmla="*/ 2147483646 h 154"/>
                    <a:gd name="T30" fmla="*/ 2147483646 w 119"/>
                    <a:gd name="T31" fmla="*/ 2147483646 h 154"/>
                    <a:gd name="T32" fmla="*/ 2147483646 w 119"/>
                    <a:gd name="T33" fmla="*/ 2147483646 h 154"/>
                    <a:gd name="T34" fmla="*/ 2147483646 w 119"/>
                    <a:gd name="T35" fmla="*/ 2147483646 h 154"/>
                    <a:gd name="T36" fmla="*/ 2147483646 w 119"/>
                    <a:gd name="T37" fmla="*/ 2147483646 h 154"/>
                    <a:gd name="T38" fmla="*/ 2147483646 w 119"/>
                    <a:gd name="T39" fmla="*/ 2147483646 h 154"/>
                    <a:gd name="T40" fmla="*/ 2147483646 w 119"/>
                    <a:gd name="T41" fmla="*/ 2147483646 h 154"/>
                    <a:gd name="T42" fmla="*/ 2147483646 w 119"/>
                    <a:gd name="T43" fmla="*/ 2147483646 h 154"/>
                    <a:gd name="T44" fmla="*/ 2147483646 w 119"/>
                    <a:gd name="T45" fmla="*/ 2147483646 h 154"/>
                    <a:gd name="T46" fmla="*/ 2147483646 w 119"/>
                    <a:gd name="T47" fmla="*/ 2147483646 h 154"/>
                    <a:gd name="T48" fmla="*/ 2147483646 w 119"/>
                    <a:gd name="T49" fmla="*/ 2147483646 h 154"/>
                    <a:gd name="T50" fmla="*/ 2147483646 w 119"/>
                    <a:gd name="T51" fmla="*/ 2147483646 h 154"/>
                    <a:gd name="T52" fmla="*/ 2147483646 w 119"/>
                    <a:gd name="T53" fmla="*/ 2147483646 h 154"/>
                    <a:gd name="T54" fmla="*/ 2147483646 w 119"/>
                    <a:gd name="T55" fmla="*/ 2147483646 h 154"/>
                    <a:gd name="T56" fmla="*/ 2147483646 w 119"/>
                    <a:gd name="T57" fmla="*/ 2147483646 h 154"/>
                    <a:gd name="T58" fmla="*/ 2147483646 w 119"/>
                    <a:gd name="T59" fmla="*/ 2147483646 h 154"/>
                    <a:gd name="T60" fmla="*/ 2147483646 w 119"/>
                    <a:gd name="T61" fmla="*/ 2147483646 h 154"/>
                    <a:gd name="T62" fmla="*/ 2147483646 w 119"/>
                    <a:gd name="T63" fmla="*/ 2147483646 h 154"/>
                    <a:gd name="T64" fmla="*/ 2147483646 w 119"/>
                    <a:gd name="T65" fmla="*/ 2147483646 h 154"/>
                    <a:gd name="T66" fmla="*/ 2147483646 w 119"/>
                    <a:gd name="T67" fmla="*/ 2147483646 h 154"/>
                    <a:gd name="T68" fmla="*/ 2147483646 w 119"/>
                    <a:gd name="T69" fmla="*/ 2147483646 h 154"/>
                    <a:gd name="T70" fmla="*/ 2147483646 w 119"/>
                    <a:gd name="T71" fmla="*/ 2147483646 h 154"/>
                    <a:gd name="T72" fmla="*/ 2147483646 w 119"/>
                    <a:gd name="T73" fmla="*/ 2147483646 h 154"/>
                    <a:gd name="T74" fmla="*/ 2147483646 w 119"/>
                    <a:gd name="T75" fmla="*/ 2147483646 h 154"/>
                    <a:gd name="T76" fmla="*/ 2147483646 w 119"/>
                    <a:gd name="T77" fmla="*/ 2147483646 h 154"/>
                    <a:gd name="T78" fmla="*/ 2147483646 w 119"/>
                    <a:gd name="T79" fmla="*/ 2147483646 h 154"/>
                    <a:gd name="T80" fmla="*/ 2147483646 w 119"/>
                    <a:gd name="T81" fmla="*/ 2147483646 h 154"/>
                    <a:gd name="T82" fmla="*/ 2147483646 w 119"/>
                    <a:gd name="T83" fmla="*/ 2147483646 h 154"/>
                    <a:gd name="T84" fmla="*/ 2147483646 w 119"/>
                    <a:gd name="T85" fmla="*/ 2147483646 h 15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0" t="0" r="r" b="b"/>
                  <a:pathLst>
                    <a:path w="119" h="154">
                      <a:moveTo>
                        <a:pt x="119" y="122"/>
                      </a:moveTo>
                      <a:lnTo>
                        <a:pt x="119" y="154"/>
                      </a:lnTo>
                      <a:lnTo>
                        <a:pt x="0" y="154"/>
                      </a:lnTo>
                      <a:lnTo>
                        <a:pt x="0" y="0"/>
                      </a:lnTo>
                      <a:lnTo>
                        <a:pt x="88" y="0"/>
                      </a:lnTo>
                      <a:lnTo>
                        <a:pt x="119" y="122"/>
                      </a:lnTo>
                      <a:close/>
                      <a:moveTo>
                        <a:pt x="100" y="143"/>
                      </a:moveTo>
                      <a:lnTo>
                        <a:pt x="100" y="122"/>
                      </a:lnTo>
                      <a:lnTo>
                        <a:pt x="99" y="118"/>
                      </a:lnTo>
                      <a:lnTo>
                        <a:pt x="83" y="118"/>
                      </a:lnTo>
                      <a:lnTo>
                        <a:pt x="85" y="143"/>
                      </a:lnTo>
                      <a:lnTo>
                        <a:pt x="100" y="143"/>
                      </a:lnTo>
                      <a:close/>
                      <a:moveTo>
                        <a:pt x="98" y="113"/>
                      </a:moveTo>
                      <a:lnTo>
                        <a:pt x="90" y="80"/>
                      </a:lnTo>
                      <a:lnTo>
                        <a:pt x="80" y="80"/>
                      </a:lnTo>
                      <a:lnTo>
                        <a:pt x="83" y="113"/>
                      </a:lnTo>
                      <a:lnTo>
                        <a:pt x="98" y="113"/>
                      </a:lnTo>
                      <a:close/>
                      <a:moveTo>
                        <a:pt x="89" y="75"/>
                      </a:moveTo>
                      <a:lnTo>
                        <a:pt x="82" y="46"/>
                      </a:lnTo>
                      <a:lnTo>
                        <a:pt x="76" y="46"/>
                      </a:lnTo>
                      <a:lnTo>
                        <a:pt x="79" y="75"/>
                      </a:lnTo>
                      <a:lnTo>
                        <a:pt x="89" y="75"/>
                      </a:lnTo>
                      <a:close/>
                      <a:moveTo>
                        <a:pt x="81" y="42"/>
                      </a:moveTo>
                      <a:lnTo>
                        <a:pt x="75" y="16"/>
                      </a:lnTo>
                      <a:lnTo>
                        <a:pt x="73" y="16"/>
                      </a:lnTo>
                      <a:lnTo>
                        <a:pt x="76" y="42"/>
                      </a:lnTo>
                      <a:lnTo>
                        <a:pt x="81" y="42"/>
                      </a:lnTo>
                      <a:close/>
                      <a:moveTo>
                        <a:pt x="81" y="143"/>
                      </a:moveTo>
                      <a:lnTo>
                        <a:pt x="79" y="118"/>
                      </a:lnTo>
                      <a:lnTo>
                        <a:pt x="56" y="118"/>
                      </a:lnTo>
                      <a:lnTo>
                        <a:pt x="56" y="143"/>
                      </a:lnTo>
                      <a:lnTo>
                        <a:pt x="81" y="143"/>
                      </a:lnTo>
                      <a:close/>
                      <a:moveTo>
                        <a:pt x="77" y="113"/>
                      </a:moveTo>
                      <a:lnTo>
                        <a:pt x="74" y="80"/>
                      </a:lnTo>
                      <a:lnTo>
                        <a:pt x="56" y="80"/>
                      </a:lnTo>
                      <a:lnTo>
                        <a:pt x="56" y="113"/>
                      </a:lnTo>
                      <a:lnTo>
                        <a:pt x="77" y="113"/>
                      </a:lnTo>
                      <a:close/>
                      <a:moveTo>
                        <a:pt x="74" y="75"/>
                      </a:moveTo>
                      <a:lnTo>
                        <a:pt x="72" y="46"/>
                      </a:lnTo>
                      <a:lnTo>
                        <a:pt x="56" y="46"/>
                      </a:lnTo>
                      <a:lnTo>
                        <a:pt x="56" y="75"/>
                      </a:lnTo>
                      <a:lnTo>
                        <a:pt x="74" y="75"/>
                      </a:lnTo>
                      <a:close/>
                      <a:moveTo>
                        <a:pt x="71" y="42"/>
                      </a:moveTo>
                      <a:lnTo>
                        <a:pt x="68" y="16"/>
                      </a:lnTo>
                      <a:lnTo>
                        <a:pt x="56" y="16"/>
                      </a:lnTo>
                      <a:lnTo>
                        <a:pt x="56" y="42"/>
                      </a:lnTo>
                      <a:lnTo>
                        <a:pt x="71" y="42"/>
                      </a:lnTo>
                      <a:close/>
                      <a:moveTo>
                        <a:pt x="52" y="143"/>
                      </a:moveTo>
                      <a:lnTo>
                        <a:pt x="52" y="118"/>
                      </a:lnTo>
                      <a:lnTo>
                        <a:pt x="38" y="118"/>
                      </a:lnTo>
                      <a:lnTo>
                        <a:pt x="38" y="143"/>
                      </a:lnTo>
                      <a:lnTo>
                        <a:pt x="52" y="143"/>
                      </a:lnTo>
                      <a:close/>
                      <a:moveTo>
                        <a:pt x="52" y="113"/>
                      </a:moveTo>
                      <a:lnTo>
                        <a:pt x="52" y="80"/>
                      </a:lnTo>
                      <a:lnTo>
                        <a:pt x="38" y="80"/>
                      </a:lnTo>
                      <a:lnTo>
                        <a:pt x="38" y="113"/>
                      </a:lnTo>
                      <a:lnTo>
                        <a:pt x="52" y="113"/>
                      </a:lnTo>
                      <a:close/>
                      <a:moveTo>
                        <a:pt x="52" y="75"/>
                      </a:moveTo>
                      <a:lnTo>
                        <a:pt x="52" y="46"/>
                      </a:lnTo>
                      <a:lnTo>
                        <a:pt x="38" y="46"/>
                      </a:lnTo>
                      <a:lnTo>
                        <a:pt x="38" y="75"/>
                      </a:lnTo>
                      <a:lnTo>
                        <a:pt x="52" y="75"/>
                      </a:lnTo>
                      <a:close/>
                      <a:moveTo>
                        <a:pt x="52" y="42"/>
                      </a:moveTo>
                      <a:lnTo>
                        <a:pt x="52" y="16"/>
                      </a:lnTo>
                      <a:lnTo>
                        <a:pt x="38" y="16"/>
                      </a:lnTo>
                      <a:lnTo>
                        <a:pt x="38" y="42"/>
                      </a:lnTo>
                      <a:lnTo>
                        <a:pt x="52" y="42"/>
                      </a:lnTo>
                      <a:close/>
                      <a:moveTo>
                        <a:pt x="33" y="143"/>
                      </a:moveTo>
                      <a:lnTo>
                        <a:pt x="33" y="118"/>
                      </a:lnTo>
                      <a:lnTo>
                        <a:pt x="17" y="118"/>
                      </a:lnTo>
                      <a:lnTo>
                        <a:pt x="17" y="143"/>
                      </a:lnTo>
                      <a:lnTo>
                        <a:pt x="33" y="143"/>
                      </a:lnTo>
                      <a:close/>
                      <a:moveTo>
                        <a:pt x="33" y="113"/>
                      </a:moveTo>
                      <a:lnTo>
                        <a:pt x="33" y="80"/>
                      </a:lnTo>
                      <a:lnTo>
                        <a:pt x="17" y="80"/>
                      </a:lnTo>
                      <a:lnTo>
                        <a:pt x="17" y="113"/>
                      </a:lnTo>
                      <a:lnTo>
                        <a:pt x="33" y="113"/>
                      </a:lnTo>
                      <a:close/>
                      <a:moveTo>
                        <a:pt x="33" y="75"/>
                      </a:moveTo>
                      <a:lnTo>
                        <a:pt x="33" y="46"/>
                      </a:lnTo>
                      <a:lnTo>
                        <a:pt x="17" y="46"/>
                      </a:lnTo>
                      <a:lnTo>
                        <a:pt x="17" y="75"/>
                      </a:lnTo>
                      <a:lnTo>
                        <a:pt x="33" y="75"/>
                      </a:lnTo>
                      <a:close/>
                      <a:moveTo>
                        <a:pt x="33" y="42"/>
                      </a:moveTo>
                      <a:lnTo>
                        <a:pt x="33" y="16"/>
                      </a:lnTo>
                      <a:lnTo>
                        <a:pt x="17" y="16"/>
                      </a:lnTo>
                      <a:lnTo>
                        <a:pt x="17" y="42"/>
                      </a:lnTo>
                      <a:lnTo>
                        <a:pt x="33" y="42"/>
                      </a:lnTo>
                      <a:close/>
                    </a:path>
                  </a:pathLst>
                </a:custGeom>
                <a:solidFill>
                  <a:srgbClr val="00B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0" name="Freeform 318">
                  <a:extLst>
                    <a:ext uri="{FF2B5EF4-FFF2-40B4-BE49-F238E27FC236}">
                      <a16:creationId xmlns:a16="http://schemas.microsoft.com/office/drawing/2014/main" id="{C26BDE53-8C41-4A3D-A08A-61FE2FE11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1697" y="5715360"/>
                  <a:ext cx="305382" cy="475038"/>
                </a:xfrm>
                <a:custGeom>
                  <a:avLst/>
                  <a:gdLst>
                    <a:gd name="T0" fmla="*/ 2147483646 w 88"/>
                    <a:gd name="T1" fmla="*/ 2147483646 h 137"/>
                    <a:gd name="T2" fmla="*/ 2147483646 w 88"/>
                    <a:gd name="T3" fmla="*/ 2147483646 h 137"/>
                    <a:gd name="T4" fmla="*/ 2147483646 w 88"/>
                    <a:gd name="T5" fmla="*/ 2147483646 h 137"/>
                    <a:gd name="T6" fmla="*/ 0 w 88"/>
                    <a:gd name="T7" fmla="*/ 2147483646 h 137"/>
                    <a:gd name="T8" fmla="*/ 2147483646 w 88"/>
                    <a:gd name="T9" fmla="*/ 0 h 137"/>
                    <a:gd name="T10" fmla="*/ 2147483646 w 88"/>
                    <a:gd name="T11" fmla="*/ 2147483646 h 1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8" h="137">
                      <a:moveTo>
                        <a:pt x="88" y="3"/>
                      </a:moveTo>
                      <a:cubicBezTo>
                        <a:pt x="88" y="134"/>
                        <a:pt x="88" y="134"/>
                        <a:pt x="88" y="134"/>
                      </a:cubicBezTo>
                      <a:cubicBezTo>
                        <a:pt x="81" y="136"/>
                        <a:pt x="75" y="137"/>
                        <a:pt x="68" y="137"/>
                      </a:cubicBezTo>
                      <a:cubicBezTo>
                        <a:pt x="30" y="137"/>
                        <a:pt x="0" y="106"/>
                        <a:pt x="0" y="69"/>
                      </a:cubicBezTo>
                      <a:cubicBezTo>
                        <a:pt x="0" y="31"/>
                        <a:pt x="30" y="0"/>
                        <a:pt x="68" y="0"/>
                      </a:cubicBezTo>
                      <a:cubicBezTo>
                        <a:pt x="75" y="0"/>
                        <a:pt x="81" y="1"/>
                        <a:pt x="88" y="3"/>
                      </a:cubicBez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1" name="Freeform 319">
                  <a:extLst>
                    <a:ext uri="{FF2B5EF4-FFF2-40B4-BE49-F238E27FC236}">
                      <a16:creationId xmlns:a16="http://schemas.microsoft.com/office/drawing/2014/main" id="{08248E4F-24AD-442F-A950-D26467FC3D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8269" y="5465501"/>
                  <a:ext cx="138811" cy="212843"/>
                </a:xfrm>
                <a:custGeom>
                  <a:avLst/>
                  <a:gdLst>
                    <a:gd name="T0" fmla="*/ 2147483646 w 45"/>
                    <a:gd name="T1" fmla="*/ 0 h 69"/>
                    <a:gd name="T2" fmla="*/ 2147483646 w 45"/>
                    <a:gd name="T3" fmla="*/ 2147483646 h 69"/>
                    <a:gd name="T4" fmla="*/ 0 w 45"/>
                    <a:gd name="T5" fmla="*/ 2147483646 h 69"/>
                    <a:gd name="T6" fmla="*/ 2147483646 w 45"/>
                    <a:gd name="T7" fmla="*/ 0 h 6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5" h="69">
                      <a:moveTo>
                        <a:pt x="23" y="0"/>
                      </a:moveTo>
                      <a:lnTo>
                        <a:pt x="45" y="69"/>
                      </a:lnTo>
                      <a:lnTo>
                        <a:pt x="0" y="69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2" name="Freeform 320">
                  <a:extLst>
                    <a:ext uri="{FF2B5EF4-FFF2-40B4-BE49-F238E27FC236}">
                      <a16:creationId xmlns:a16="http://schemas.microsoft.com/office/drawing/2014/main" id="{0D1E6D10-10DF-4731-8A99-FD778BC037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8269" y="6233583"/>
                  <a:ext cx="138811" cy="209757"/>
                </a:xfrm>
                <a:custGeom>
                  <a:avLst/>
                  <a:gdLst>
                    <a:gd name="T0" fmla="*/ 2147483646 w 45"/>
                    <a:gd name="T1" fmla="*/ 0 h 68"/>
                    <a:gd name="T2" fmla="*/ 2147483646 w 45"/>
                    <a:gd name="T3" fmla="*/ 2147483646 h 68"/>
                    <a:gd name="T4" fmla="*/ 0 w 45"/>
                    <a:gd name="T5" fmla="*/ 0 h 68"/>
                    <a:gd name="T6" fmla="*/ 2147483646 w 45"/>
                    <a:gd name="T7" fmla="*/ 0 h 6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5" h="68">
                      <a:moveTo>
                        <a:pt x="45" y="0"/>
                      </a:moveTo>
                      <a:lnTo>
                        <a:pt x="23" y="68"/>
                      </a:lnTo>
                      <a:lnTo>
                        <a:pt x="0" y="0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3" name="Freeform 321">
                  <a:extLst>
                    <a:ext uri="{FF2B5EF4-FFF2-40B4-BE49-F238E27FC236}">
                      <a16:creationId xmlns:a16="http://schemas.microsoft.com/office/drawing/2014/main" id="{A662FEF4-3536-4FA7-A3B3-D1707B5D9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904" y="5619734"/>
                  <a:ext cx="200504" cy="197418"/>
                </a:xfrm>
                <a:custGeom>
                  <a:avLst/>
                  <a:gdLst>
                    <a:gd name="T0" fmla="*/ 2147483646 w 65"/>
                    <a:gd name="T1" fmla="*/ 2147483646 h 64"/>
                    <a:gd name="T2" fmla="*/ 2147483646 w 65"/>
                    <a:gd name="T3" fmla="*/ 2147483646 h 64"/>
                    <a:gd name="T4" fmla="*/ 0 w 65"/>
                    <a:gd name="T5" fmla="*/ 0 h 64"/>
                    <a:gd name="T6" fmla="*/ 2147483646 w 65"/>
                    <a:gd name="T7" fmla="*/ 2147483646 h 6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5" h="64">
                      <a:moveTo>
                        <a:pt x="65" y="32"/>
                      </a:moveTo>
                      <a:lnTo>
                        <a:pt x="33" y="64"/>
                      </a:lnTo>
                      <a:lnTo>
                        <a:pt x="0" y="0"/>
                      </a:lnTo>
                      <a:lnTo>
                        <a:pt x="65" y="32"/>
                      </a:ln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4" name="Freeform 322">
                  <a:extLst>
                    <a:ext uri="{FF2B5EF4-FFF2-40B4-BE49-F238E27FC236}">
                      <a16:creationId xmlns:a16="http://schemas.microsoft.com/office/drawing/2014/main" id="{F480EE11-9346-4B9D-B4EA-71A839C0E4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4480" y="6091688"/>
                  <a:ext cx="197418" cy="197418"/>
                </a:xfrm>
                <a:custGeom>
                  <a:avLst/>
                  <a:gdLst>
                    <a:gd name="T0" fmla="*/ 2147483646 w 64"/>
                    <a:gd name="T1" fmla="*/ 2147483646 h 64"/>
                    <a:gd name="T2" fmla="*/ 0 w 64"/>
                    <a:gd name="T3" fmla="*/ 2147483646 h 64"/>
                    <a:gd name="T4" fmla="*/ 2147483646 w 64"/>
                    <a:gd name="T5" fmla="*/ 0 h 64"/>
                    <a:gd name="T6" fmla="*/ 2147483646 w 64"/>
                    <a:gd name="T7" fmla="*/ 2147483646 h 6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4" h="64">
                      <a:moveTo>
                        <a:pt x="64" y="31"/>
                      </a:moveTo>
                      <a:lnTo>
                        <a:pt x="0" y="64"/>
                      </a:lnTo>
                      <a:lnTo>
                        <a:pt x="32" y="0"/>
                      </a:lnTo>
                      <a:lnTo>
                        <a:pt x="64" y="31"/>
                      </a:ln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5" name="Freeform 323">
                  <a:extLst>
                    <a:ext uri="{FF2B5EF4-FFF2-40B4-BE49-F238E27FC236}">
                      <a16:creationId xmlns:a16="http://schemas.microsoft.com/office/drawing/2014/main" id="{7BB82FA2-DEDD-46A4-9E64-C4964461D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1094" y="5885015"/>
                  <a:ext cx="212843" cy="135725"/>
                </a:xfrm>
                <a:custGeom>
                  <a:avLst/>
                  <a:gdLst>
                    <a:gd name="T0" fmla="*/ 2147483646 w 69"/>
                    <a:gd name="T1" fmla="*/ 0 h 44"/>
                    <a:gd name="T2" fmla="*/ 2147483646 w 69"/>
                    <a:gd name="T3" fmla="*/ 2147483646 h 44"/>
                    <a:gd name="T4" fmla="*/ 0 w 69"/>
                    <a:gd name="T5" fmla="*/ 2147483646 h 44"/>
                    <a:gd name="T6" fmla="*/ 2147483646 w 69"/>
                    <a:gd name="T7" fmla="*/ 0 h 4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9" h="44">
                      <a:moveTo>
                        <a:pt x="69" y="0"/>
                      </a:moveTo>
                      <a:lnTo>
                        <a:pt x="69" y="44"/>
                      </a:lnTo>
                      <a:lnTo>
                        <a:pt x="0" y="23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3E3A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64" name="组合 27">
                <a:extLst>
                  <a:ext uri="{FF2B5EF4-FFF2-40B4-BE49-F238E27FC236}">
                    <a16:creationId xmlns:a16="http://schemas.microsoft.com/office/drawing/2014/main" id="{8FAAF74E-8136-4E9E-AACE-804627253EE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62061" y="892584"/>
                <a:ext cx="1539875" cy="1028700"/>
                <a:chOff x="334964" y="646114"/>
                <a:chExt cx="1539875" cy="1028700"/>
              </a:xfrm>
            </p:grpSpPr>
            <p:sp>
              <p:nvSpPr>
                <p:cNvPr id="502" name="Freeform 16">
                  <a:extLst>
                    <a:ext uri="{FF2B5EF4-FFF2-40B4-BE49-F238E27FC236}">
                      <a16:creationId xmlns:a16="http://schemas.microsoft.com/office/drawing/2014/main" id="{4ECE2539-9798-40AB-896F-8E469E140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5376" y="646114"/>
                  <a:ext cx="771525" cy="979488"/>
                </a:xfrm>
                <a:custGeom>
                  <a:avLst/>
                  <a:gdLst>
                    <a:gd name="T0" fmla="*/ 2147483646 w 637"/>
                    <a:gd name="T1" fmla="*/ 2147483646 h 808"/>
                    <a:gd name="T2" fmla="*/ 2147483646 w 637"/>
                    <a:gd name="T3" fmla="*/ 2147483646 h 808"/>
                    <a:gd name="T4" fmla="*/ 2147483646 w 637"/>
                    <a:gd name="T5" fmla="*/ 2147483646 h 808"/>
                    <a:gd name="T6" fmla="*/ 2147483646 w 637"/>
                    <a:gd name="T7" fmla="*/ 0 h 808"/>
                    <a:gd name="T8" fmla="*/ 2147483646 w 637"/>
                    <a:gd name="T9" fmla="*/ 0 h 808"/>
                    <a:gd name="T10" fmla="*/ 2147483646 w 637"/>
                    <a:gd name="T11" fmla="*/ 0 h 808"/>
                    <a:gd name="T12" fmla="*/ 2147483646 w 637"/>
                    <a:gd name="T13" fmla="*/ 0 h 808"/>
                    <a:gd name="T14" fmla="*/ 2147483646 w 637"/>
                    <a:gd name="T15" fmla="*/ 0 h 808"/>
                    <a:gd name="T16" fmla="*/ 2147483646 w 637"/>
                    <a:gd name="T17" fmla="*/ 2147483646 h 808"/>
                    <a:gd name="T18" fmla="*/ 0 w 637"/>
                    <a:gd name="T19" fmla="*/ 2147483646 h 808"/>
                    <a:gd name="T20" fmla="*/ 2147483646 w 637"/>
                    <a:gd name="T21" fmla="*/ 2147483646 h 808"/>
                    <a:gd name="T22" fmla="*/ 2147483646 w 637"/>
                    <a:gd name="T23" fmla="*/ 2147483646 h 808"/>
                    <a:gd name="T24" fmla="*/ 2147483646 w 637"/>
                    <a:gd name="T25" fmla="*/ 2147483646 h 808"/>
                    <a:gd name="T26" fmla="*/ 2147483646 w 637"/>
                    <a:gd name="T27" fmla="*/ 2147483646 h 80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37" h="808">
                      <a:moveTo>
                        <a:pt x="550" y="47"/>
                      </a:moveTo>
                      <a:cubicBezTo>
                        <a:pt x="550" y="47"/>
                        <a:pt x="550" y="47"/>
                        <a:pt x="550" y="47"/>
                      </a:cubicBezTo>
                      <a:cubicBezTo>
                        <a:pt x="551" y="46"/>
                        <a:pt x="551" y="46"/>
                        <a:pt x="551" y="45"/>
                      </a:cubicBezTo>
                      <a:cubicBezTo>
                        <a:pt x="551" y="45"/>
                        <a:pt x="489" y="4"/>
                        <a:pt x="324" y="0"/>
                      </a:cubicBezTo>
                      <a:cubicBezTo>
                        <a:pt x="324" y="0"/>
                        <a:pt x="324" y="0"/>
                        <a:pt x="324" y="0"/>
                      </a:cubicBezTo>
                      <a:cubicBezTo>
                        <a:pt x="322" y="0"/>
                        <a:pt x="320" y="0"/>
                        <a:pt x="319" y="0"/>
                      </a:cubicBezTo>
                      <a:cubicBezTo>
                        <a:pt x="317" y="0"/>
                        <a:pt x="315" y="0"/>
                        <a:pt x="313" y="0"/>
                      </a:cubicBezTo>
                      <a:cubicBezTo>
                        <a:pt x="313" y="0"/>
                        <a:pt x="313" y="0"/>
                        <a:pt x="313" y="0"/>
                      </a:cubicBezTo>
                      <a:cubicBezTo>
                        <a:pt x="148" y="4"/>
                        <a:pt x="86" y="45"/>
                        <a:pt x="86" y="45"/>
                      </a:cubicBezTo>
                      <a:cubicBezTo>
                        <a:pt x="172" y="383"/>
                        <a:pt x="0" y="808"/>
                        <a:pt x="0" y="808"/>
                      </a:cubicBezTo>
                      <a:cubicBezTo>
                        <a:pt x="277" y="808"/>
                        <a:pt x="277" y="808"/>
                        <a:pt x="277" y="808"/>
                      </a:cubicBezTo>
                      <a:cubicBezTo>
                        <a:pt x="360" y="808"/>
                        <a:pt x="360" y="808"/>
                        <a:pt x="360" y="808"/>
                      </a:cubicBezTo>
                      <a:cubicBezTo>
                        <a:pt x="637" y="808"/>
                        <a:pt x="637" y="808"/>
                        <a:pt x="637" y="808"/>
                      </a:cubicBezTo>
                      <a:cubicBezTo>
                        <a:pt x="637" y="808"/>
                        <a:pt x="466" y="386"/>
                        <a:pt x="550" y="47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3" name="Freeform 17">
                  <a:extLst>
                    <a:ext uri="{FF2B5EF4-FFF2-40B4-BE49-F238E27FC236}">
                      <a16:creationId xmlns:a16="http://schemas.microsoft.com/office/drawing/2014/main" id="{8EB6EFA3-ECDA-496B-8F93-61FE192A77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3126" y="939801"/>
                  <a:ext cx="338138" cy="685800"/>
                </a:xfrm>
                <a:custGeom>
                  <a:avLst/>
                  <a:gdLst>
                    <a:gd name="T0" fmla="*/ 2147483646 w 279"/>
                    <a:gd name="T1" fmla="*/ 2147483646 h 566"/>
                    <a:gd name="T2" fmla="*/ 2147483646 w 279"/>
                    <a:gd name="T3" fmla="*/ 2147483646 h 566"/>
                    <a:gd name="T4" fmla="*/ 2147483646 w 279"/>
                    <a:gd name="T5" fmla="*/ 0 h 566"/>
                    <a:gd name="T6" fmla="*/ 2147483646 w 279"/>
                    <a:gd name="T7" fmla="*/ 0 h 566"/>
                    <a:gd name="T8" fmla="*/ 2147483646 w 279"/>
                    <a:gd name="T9" fmla="*/ 0 h 566"/>
                    <a:gd name="T10" fmla="*/ 2147483646 w 279"/>
                    <a:gd name="T11" fmla="*/ 0 h 566"/>
                    <a:gd name="T12" fmla="*/ 2147483646 w 279"/>
                    <a:gd name="T13" fmla="*/ 0 h 566"/>
                    <a:gd name="T14" fmla="*/ 2147483646 w 279"/>
                    <a:gd name="T15" fmla="*/ 2147483646 h 566"/>
                    <a:gd name="T16" fmla="*/ 0 w 279"/>
                    <a:gd name="T17" fmla="*/ 2147483646 h 566"/>
                    <a:gd name="T18" fmla="*/ 2147483646 w 279"/>
                    <a:gd name="T19" fmla="*/ 2147483646 h 566"/>
                    <a:gd name="T20" fmla="*/ 2147483646 w 279"/>
                    <a:gd name="T21" fmla="*/ 2147483646 h 566"/>
                    <a:gd name="T22" fmla="*/ 2147483646 w 279"/>
                    <a:gd name="T23" fmla="*/ 2147483646 h 56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79" h="566">
                      <a:moveTo>
                        <a:pt x="279" y="15"/>
                      </a:moveTo>
                      <a:cubicBezTo>
                        <a:pt x="279" y="11"/>
                        <a:pt x="279" y="7"/>
                        <a:pt x="279" y="3"/>
                      </a:cubicBezTo>
                      <a:cubicBezTo>
                        <a:pt x="264" y="2"/>
                        <a:pt x="246" y="0"/>
                        <a:pt x="227" y="0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226" y="0"/>
                        <a:pt x="225" y="0"/>
                        <a:pt x="223" y="0"/>
                      </a:cubicBezTo>
                      <a:cubicBezTo>
                        <a:pt x="222" y="0"/>
                        <a:pt x="221" y="0"/>
                        <a:pt x="220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104" y="3"/>
                        <a:pt x="60" y="31"/>
                        <a:pt x="60" y="31"/>
                      </a:cubicBezTo>
                      <a:cubicBezTo>
                        <a:pt x="121" y="268"/>
                        <a:pt x="0" y="566"/>
                        <a:pt x="0" y="566"/>
                      </a:cubicBezTo>
                      <a:cubicBezTo>
                        <a:pt x="169" y="566"/>
                        <a:pt x="169" y="566"/>
                        <a:pt x="169" y="566"/>
                      </a:cubicBezTo>
                      <a:cubicBezTo>
                        <a:pt x="169" y="566"/>
                        <a:pt x="278" y="296"/>
                        <a:pt x="279" y="15"/>
                      </a:cubicBezTo>
                      <a:cubicBezTo>
                        <a:pt x="279" y="15"/>
                        <a:pt x="279" y="15"/>
                        <a:pt x="279" y="15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4" name="Freeform 18">
                  <a:extLst>
                    <a:ext uri="{FF2B5EF4-FFF2-40B4-BE49-F238E27FC236}">
                      <a16:creationId xmlns:a16="http://schemas.microsoft.com/office/drawing/2014/main" id="{02DE1A97-C439-4601-9E1D-8512261DF5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414" y="1204914"/>
                  <a:ext cx="176213" cy="11113"/>
                </a:xfrm>
                <a:custGeom>
                  <a:avLst/>
                  <a:gdLst>
                    <a:gd name="T0" fmla="*/ 2147483646 w 145"/>
                    <a:gd name="T1" fmla="*/ 0 h 9"/>
                    <a:gd name="T2" fmla="*/ 0 w 145"/>
                    <a:gd name="T3" fmla="*/ 2147483646 h 9"/>
                    <a:gd name="T4" fmla="*/ 2147483646 w 145"/>
                    <a:gd name="T5" fmla="*/ 2147483646 h 9"/>
                    <a:gd name="T6" fmla="*/ 2147483646 w 145"/>
                    <a:gd name="T7" fmla="*/ 2147483646 h 9"/>
                    <a:gd name="T8" fmla="*/ 2147483646 w 145"/>
                    <a:gd name="T9" fmla="*/ 0 h 9"/>
                    <a:gd name="T10" fmla="*/ 2147483646 w 145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45" h="9">
                      <a:moveTo>
                        <a:pt x="5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7"/>
                        <a:pt x="2" y="9"/>
                        <a:pt x="5" y="9"/>
                      </a:cubicBezTo>
                      <a:cubicBezTo>
                        <a:pt x="143" y="9"/>
                        <a:pt x="143" y="9"/>
                        <a:pt x="143" y="9"/>
                      </a:cubicBezTo>
                      <a:cubicBezTo>
                        <a:pt x="144" y="6"/>
                        <a:pt x="144" y="3"/>
                        <a:pt x="145" y="0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5" name="Freeform 19">
                  <a:extLst>
                    <a:ext uri="{FF2B5EF4-FFF2-40B4-BE49-F238E27FC236}">
                      <a16:creationId xmlns:a16="http://schemas.microsoft.com/office/drawing/2014/main" id="{28AF1BD9-1925-4E0B-B72A-871CABFE9C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6476" y="1228726"/>
                  <a:ext cx="179388" cy="11113"/>
                </a:xfrm>
                <a:custGeom>
                  <a:avLst/>
                  <a:gdLst>
                    <a:gd name="T0" fmla="*/ 2147483646 w 148"/>
                    <a:gd name="T1" fmla="*/ 0 h 9"/>
                    <a:gd name="T2" fmla="*/ 0 w 148"/>
                    <a:gd name="T3" fmla="*/ 2147483646 h 9"/>
                    <a:gd name="T4" fmla="*/ 2147483646 w 148"/>
                    <a:gd name="T5" fmla="*/ 2147483646 h 9"/>
                    <a:gd name="T6" fmla="*/ 2147483646 w 148"/>
                    <a:gd name="T7" fmla="*/ 2147483646 h 9"/>
                    <a:gd name="T8" fmla="*/ 2147483646 w 148"/>
                    <a:gd name="T9" fmla="*/ 0 h 9"/>
                    <a:gd name="T10" fmla="*/ 2147483646 w 148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48" h="9">
                      <a:moveTo>
                        <a:pt x="6" y="0"/>
                      </a:moveTo>
                      <a:cubicBezTo>
                        <a:pt x="3" y="0"/>
                        <a:pt x="0" y="2"/>
                        <a:pt x="0" y="5"/>
                      </a:cubicBezTo>
                      <a:cubicBezTo>
                        <a:pt x="0" y="7"/>
                        <a:pt x="3" y="9"/>
                        <a:pt x="6" y="9"/>
                      </a:cubicBezTo>
                      <a:cubicBezTo>
                        <a:pt x="147" y="9"/>
                        <a:pt x="147" y="9"/>
                        <a:pt x="147" y="9"/>
                      </a:cubicBezTo>
                      <a:cubicBezTo>
                        <a:pt x="147" y="6"/>
                        <a:pt x="148" y="3"/>
                        <a:pt x="148" y="0"/>
                      </a:cubicBez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6" name="Freeform 20">
                  <a:extLst>
                    <a:ext uri="{FF2B5EF4-FFF2-40B4-BE49-F238E27FC236}">
                      <a16:creationId xmlns:a16="http://schemas.microsoft.com/office/drawing/2014/main" id="{5CD76377-48C3-4F9E-813C-9B82F6EA54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3776" y="1254126"/>
                  <a:ext cx="187325" cy="11113"/>
                </a:xfrm>
                <a:custGeom>
                  <a:avLst/>
                  <a:gdLst>
                    <a:gd name="T0" fmla="*/ 2147483646 w 154"/>
                    <a:gd name="T1" fmla="*/ 0 h 9"/>
                    <a:gd name="T2" fmla="*/ 0 w 154"/>
                    <a:gd name="T3" fmla="*/ 2147483646 h 9"/>
                    <a:gd name="T4" fmla="*/ 2147483646 w 154"/>
                    <a:gd name="T5" fmla="*/ 2147483646 h 9"/>
                    <a:gd name="T6" fmla="*/ 2147483646 w 154"/>
                    <a:gd name="T7" fmla="*/ 2147483646 h 9"/>
                    <a:gd name="T8" fmla="*/ 2147483646 w 154"/>
                    <a:gd name="T9" fmla="*/ 0 h 9"/>
                    <a:gd name="T10" fmla="*/ 2147483646 w 15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4" h="9">
                      <a:moveTo>
                        <a:pt x="7" y="0"/>
                      </a:moveTo>
                      <a:cubicBezTo>
                        <a:pt x="3" y="0"/>
                        <a:pt x="0" y="2"/>
                        <a:pt x="0" y="5"/>
                      </a:cubicBezTo>
                      <a:cubicBezTo>
                        <a:pt x="0" y="7"/>
                        <a:pt x="3" y="9"/>
                        <a:pt x="7" y="9"/>
                      </a:cubicBezTo>
                      <a:cubicBezTo>
                        <a:pt x="153" y="9"/>
                        <a:pt x="153" y="9"/>
                        <a:pt x="153" y="9"/>
                      </a:cubicBezTo>
                      <a:cubicBezTo>
                        <a:pt x="153" y="6"/>
                        <a:pt x="154" y="3"/>
                        <a:pt x="154" y="0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7" name="Freeform 21">
                  <a:extLst>
                    <a:ext uri="{FF2B5EF4-FFF2-40B4-BE49-F238E27FC236}">
                      <a16:creationId xmlns:a16="http://schemas.microsoft.com/office/drawing/2014/main" id="{24E3FBAD-1E10-4397-B9E8-CEBD596B1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964" y="1638301"/>
                  <a:ext cx="1539875" cy="36513"/>
                </a:xfrm>
                <a:custGeom>
                  <a:avLst/>
                  <a:gdLst>
                    <a:gd name="T0" fmla="*/ 2147483646 w 970"/>
                    <a:gd name="T1" fmla="*/ 0 h 23"/>
                    <a:gd name="T2" fmla="*/ 2147483646 w 970"/>
                    <a:gd name="T3" fmla="*/ 0 h 23"/>
                    <a:gd name="T4" fmla="*/ 2147483646 w 970"/>
                    <a:gd name="T5" fmla="*/ 0 h 23"/>
                    <a:gd name="T6" fmla="*/ 2147483646 w 970"/>
                    <a:gd name="T7" fmla="*/ 0 h 23"/>
                    <a:gd name="T8" fmla="*/ 2147483646 w 970"/>
                    <a:gd name="T9" fmla="*/ 0 h 23"/>
                    <a:gd name="T10" fmla="*/ 2147483646 w 970"/>
                    <a:gd name="T11" fmla="*/ 0 h 23"/>
                    <a:gd name="T12" fmla="*/ 2147483646 w 970"/>
                    <a:gd name="T13" fmla="*/ 0 h 23"/>
                    <a:gd name="T14" fmla="*/ 2147483646 w 970"/>
                    <a:gd name="T15" fmla="*/ 0 h 23"/>
                    <a:gd name="T16" fmla="*/ 0 w 970"/>
                    <a:gd name="T17" fmla="*/ 0 h 23"/>
                    <a:gd name="T18" fmla="*/ 0 w 970"/>
                    <a:gd name="T19" fmla="*/ 2147483646 h 23"/>
                    <a:gd name="T20" fmla="*/ 2147483646 w 970"/>
                    <a:gd name="T21" fmla="*/ 2147483646 h 23"/>
                    <a:gd name="T22" fmla="*/ 2147483646 w 970"/>
                    <a:gd name="T23" fmla="*/ 2147483646 h 23"/>
                    <a:gd name="T24" fmla="*/ 2147483646 w 970"/>
                    <a:gd name="T25" fmla="*/ 2147483646 h 23"/>
                    <a:gd name="T26" fmla="*/ 2147483646 w 970"/>
                    <a:gd name="T27" fmla="*/ 2147483646 h 23"/>
                    <a:gd name="T28" fmla="*/ 2147483646 w 970"/>
                    <a:gd name="T29" fmla="*/ 2147483646 h 23"/>
                    <a:gd name="T30" fmla="*/ 2147483646 w 970"/>
                    <a:gd name="T31" fmla="*/ 2147483646 h 23"/>
                    <a:gd name="T32" fmla="*/ 2147483646 w 970"/>
                    <a:gd name="T33" fmla="*/ 2147483646 h 23"/>
                    <a:gd name="T34" fmla="*/ 2147483646 w 970"/>
                    <a:gd name="T35" fmla="*/ 2147483646 h 23"/>
                    <a:gd name="T36" fmla="*/ 2147483646 w 970"/>
                    <a:gd name="T37" fmla="*/ 2147483646 h 23"/>
                    <a:gd name="T38" fmla="*/ 2147483646 w 970"/>
                    <a:gd name="T39" fmla="*/ 0 h 23"/>
                    <a:gd name="T40" fmla="*/ 2147483646 w 970"/>
                    <a:gd name="T41" fmla="*/ 0 h 2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970" h="23">
                      <a:moveTo>
                        <a:pt x="950" y="0"/>
                      </a:moveTo>
                      <a:lnTo>
                        <a:pt x="931" y="0"/>
                      </a:lnTo>
                      <a:lnTo>
                        <a:pt x="548" y="0"/>
                      </a:lnTo>
                      <a:lnTo>
                        <a:pt x="534" y="0"/>
                      </a:lnTo>
                      <a:lnTo>
                        <a:pt x="521" y="0"/>
                      </a:lnTo>
                      <a:lnTo>
                        <a:pt x="241" y="0"/>
                      </a:lnTo>
                      <a:lnTo>
                        <a:pt x="203" y="0"/>
                      </a:lnTo>
                      <a:lnTo>
                        <a:pt x="27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27" y="23"/>
                      </a:lnTo>
                      <a:lnTo>
                        <a:pt x="203" y="23"/>
                      </a:lnTo>
                      <a:lnTo>
                        <a:pt x="241" y="23"/>
                      </a:lnTo>
                      <a:lnTo>
                        <a:pt x="521" y="23"/>
                      </a:lnTo>
                      <a:lnTo>
                        <a:pt x="534" y="23"/>
                      </a:lnTo>
                      <a:lnTo>
                        <a:pt x="548" y="23"/>
                      </a:lnTo>
                      <a:lnTo>
                        <a:pt x="931" y="23"/>
                      </a:lnTo>
                      <a:lnTo>
                        <a:pt x="950" y="23"/>
                      </a:lnTo>
                      <a:lnTo>
                        <a:pt x="970" y="23"/>
                      </a:lnTo>
                      <a:lnTo>
                        <a:pt x="970" y="0"/>
                      </a:lnTo>
                      <a:lnTo>
                        <a:pt x="950" y="0"/>
                      </a:lnTo>
                      <a:close/>
                    </a:path>
                  </a:pathLst>
                </a:custGeom>
                <a:solidFill>
                  <a:srgbClr val="1A1A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8" name="Freeform 22">
                  <a:extLst>
                    <a:ext uri="{FF2B5EF4-FFF2-40B4-BE49-F238E27FC236}">
                      <a16:creationId xmlns:a16="http://schemas.microsoft.com/office/drawing/2014/main" id="{76A0A646-CA89-4785-BCFE-DF80E33561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051" y="1020764"/>
                  <a:ext cx="384175" cy="17463"/>
                </a:xfrm>
                <a:custGeom>
                  <a:avLst/>
                  <a:gdLst>
                    <a:gd name="T0" fmla="*/ 2147483646 w 317"/>
                    <a:gd name="T1" fmla="*/ 2147483646 h 14"/>
                    <a:gd name="T2" fmla="*/ 2147483646 w 317"/>
                    <a:gd name="T3" fmla="*/ 2147483646 h 14"/>
                    <a:gd name="T4" fmla="*/ 2147483646 w 317"/>
                    <a:gd name="T5" fmla="*/ 2147483646 h 14"/>
                    <a:gd name="T6" fmla="*/ 0 w 317"/>
                    <a:gd name="T7" fmla="*/ 2147483646 h 14"/>
                    <a:gd name="T8" fmla="*/ 0 w 317"/>
                    <a:gd name="T9" fmla="*/ 2147483646 h 14"/>
                    <a:gd name="T10" fmla="*/ 2147483646 w 317"/>
                    <a:gd name="T11" fmla="*/ 0 h 14"/>
                    <a:gd name="T12" fmla="*/ 2147483646 w 317"/>
                    <a:gd name="T13" fmla="*/ 0 h 14"/>
                    <a:gd name="T14" fmla="*/ 2147483646 w 317"/>
                    <a:gd name="T15" fmla="*/ 2147483646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17" h="14">
                      <a:moveTo>
                        <a:pt x="317" y="7"/>
                      </a:moveTo>
                      <a:cubicBezTo>
                        <a:pt x="317" y="11"/>
                        <a:pt x="314" y="14"/>
                        <a:pt x="309" y="14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3" y="14"/>
                        <a:pt x="0" y="11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8" y="0"/>
                      </a:cubicBezTo>
                      <a:cubicBezTo>
                        <a:pt x="309" y="0"/>
                        <a:pt x="309" y="0"/>
                        <a:pt x="309" y="0"/>
                      </a:cubicBezTo>
                      <a:cubicBezTo>
                        <a:pt x="314" y="0"/>
                        <a:pt x="317" y="3"/>
                        <a:pt x="317" y="7"/>
                      </a:cubicBez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9" name="Freeform 23">
                  <a:extLst>
                    <a:ext uri="{FF2B5EF4-FFF2-40B4-BE49-F238E27FC236}">
                      <a16:creationId xmlns:a16="http://schemas.microsoft.com/office/drawing/2014/main" id="{F5771B99-011F-439A-9CE4-66F12C04B9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6351" y="1057276"/>
                  <a:ext cx="407988" cy="15875"/>
                </a:xfrm>
                <a:custGeom>
                  <a:avLst/>
                  <a:gdLst>
                    <a:gd name="T0" fmla="*/ 2147483646 w 337"/>
                    <a:gd name="T1" fmla="*/ 2147483646 h 14"/>
                    <a:gd name="T2" fmla="*/ 2147483646 w 337"/>
                    <a:gd name="T3" fmla="*/ 2147483646 h 14"/>
                    <a:gd name="T4" fmla="*/ 2147483646 w 337"/>
                    <a:gd name="T5" fmla="*/ 2147483646 h 14"/>
                    <a:gd name="T6" fmla="*/ 0 w 337"/>
                    <a:gd name="T7" fmla="*/ 2147483646 h 14"/>
                    <a:gd name="T8" fmla="*/ 0 w 337"/>
                    <a:gd name="T9" fmla="*/ 2147483646 h 14"/>
                    <a:gd name="T10" fmla="*/ 2147483646 w 337"/>
                    <a:gd name="T11" fmla="*/ 0 h 14"/>
                    <a:gd name="T12" fmla="*/ 2147483646 w 337"/>
                    <a:gd name="T13" fmla="*/ 0 h 14"/>
                    <a:gd name="T14" fmla="*/ 2147483646 w 337"/>
                    <a:gd name="T15" fmla="*/ 2147483646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37" h="14">
                      <a:moveTo>
                        <a:pt x="337" y="7"/>
                      </a:moveTo>
                      <a:cubicBezTo>
                        <a:pt x="337" y="11"/>
                        <a:pt x="333" y="14"/>
                        <a:pt x="328" y="14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4" y="14"/>
                        <a:pt x="0" y="11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4" y="0"/>
                        <a:pt x="9" y="0"/>
                      </a:cubicBezTo>
                      <a:cubicBezTo>
                        <a:pt x="328" y="0"/>
                        <a:pt x="328" y="0"/>
                        <a:pt x="328" y="0"/>
                      </a:cubicBezTo>
                      <a:cubicBezTo>
                        <a:pt x="333" y="0"/>
                        <a:pt x="337" y="3"/>
                        <a:pt x="337" y="7"/>
                      </a:cubicBez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0" name="Freeform 24">
                  <a:extLst>
                    <a:ext uri="{FF2B5EF4-FFF2-40B4-BE49-F238E27FC236}">
                      <a16:creationId xmlns:a16="http://schemas.microsoft.com/office/drawing/2014/main" id="{17F41A20-096E-4107-8E36-DA92D43270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889" y="1095376"/>
                  <a:ext cx="444500" cy="15875"/>
                </a:xfrm>
                <a:custGeom>
                  <a:avLst/>
                  <a:gdLst>
                    <a:gd name="T0" fmla="*/ 2147483646 w 367"/>
                    <a:gd name="T1" fmla="*/ 2147483646 h 13"/>
                    <a:gd name="T2" fmla="*/ 2147483646 w 367"/>
                    <a:gd name="T3" fmla="*/ 2147483646 h 13"/>
                    <a:gd name="T4" fmla="*/ 2147483646 w 367"/>
                    <a:gd name="T5" fmla="*/ 2147483646 h 13"/>
                    <a:gd name="T6" fmla="*/ 0 w 367"/>
                    <a:gd name="T7" fmla="*/ 2147483646 h 13"/>
                    <a:gd name="T8" fmla="*/ 0 w 367"/>
                    <a:gd name="T9" fmla="*/ 2147483646 h 13"/>
                    <a:gd name="T10" fmla="*/ 2147483646 w 367"/>
                    <a:gd name="T11" fmla="*/ 0 h 13"/>
                    <a:gd name="T12" fmla="*/ 2147483646 w 367"/>
                    <a:gd name="T13" fmla="*/ 0 h 13"/>
                    <a:gd name="T14" fmla="*/ 2147483646 w 367"/>
                    <a:gd name="T15" fmla="*/ 2147483646 h 1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67" h="13">
                      <a:moveTo>
                        <a:pt x="367" y="6"/>
                      </a:moveTo>
                      <a:cubicBezTo>
                        <a:pt x="367" y="10"/>
                        <a:pt x="362" y="13"/>
                        <a:pt x="357" y="13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5" y="13"/>
                        <a:pt x="0" y="10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5" y="0"/>
                        <a:pt x="10" y="0"/>
                      </a:cubicBezTo>
                      <a:cubicBezTo>
                        <a:pt x="357" y="0"/>
                        <a:pt x="357" y="0"/>
                        <a:pt x="357" y="0"/>
                      </a:cubicBezTo>
                      <a:cubicBezTo>
                        <a:pt x="362" y="0"/>
                        <a:pt x="367" y="2"/>
                        <a:pt x="367" y="6"/>
                      </a:cubicBezTo>
                      <a:close/>
                    </a:path>
                  </a:pathLst>
                </a:custGeom>
                <a:solidFill>
                  <a:srgbClr val="C9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1" name="Freeform 25">
                  <a:extLst>
                    <a:ext uri="{FF2B5EF4-FFF2-40B4-BE49-F238E27FC236}">
                      <a16:creationId xmlns:a16="http://schemas.microsoft.com/office/drawing/2014/main" id="{FE2B54C2-6C98-43DC-B6D3-C7E106F05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0814" y="1304926"/>
                  <a:ext cx="127000" cy="90488"/>
                </a:xfrm>
                <a:custGeom>
                  <a:avLst/>
                  <a:gdLst>
                    <a:gd name="T0" fmla="*/ 2147483646 w 105"/>
                    <a:gd name="T1" fmla="*/ 2147483646 h 74"/>
                    <a:gd name="T2" fmla="*/ 2147483646 w 105"/>
                    <a:gd name="T3" fmla="*/ 2147483646 h 74"/>
                    <a:gd name="T4" fmla="*/ 0 w 105"/>
                    <a:gd name="T5" fmla="*/ 2147483646 h 74"/>
                    <a:gd name="T6" fmla="*/ 2147483646 w 105"/>
                    <a:gd name="T7" fmla="*/ 2147483646 h 74"/>
                    <a:gd name="T8" fmla="*/ 2147483646 w 105"/>
                    <a:gd name="T9" fmla="*/ 2147483646 h 7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5" h="74">
                      <a:moveTo>
                        <a:pt x="71" y="74"/>
                      </a:moveTo>
                      <a:cubicBezTo>
                        <a:pt x="59" y="67"/>
                        <a:pt x="44" y="66"/>
                        <a:pt x="32" y="73"/>
                      </a:cubicBezTo>
                      <a:cubicBezTo>
                        <a:pt x="21" y="55"/>
                        <a:pt x="10" y="37"/>
                        <a:pt x="0" y="19"/>
                      </a:cubicBezTo>
                      <a:cubicBezTo>
                        <a:pt x="32" y="0"/>
                        <a:pt x="73" y="1"/>
                        <a:pt x="105" y="21"/>
                      </a:cubicBezTo>
                      <a:cubicBezTo>
                        <a:pt x="93" y="39"/>
                        <a:pt x="82" y="56"/>
                        <a:pt x="71" y="74"/>
                      </a:cubicBezTo>
                      <a:close/>
                    </a:path>
                  </a:pathLst>
                </a:custGeom>
                <a:solidFill>
                  <a:srgbClr val="EFEFE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2" name="Freeform 26">
                  <a:extLst>
                    <a:ext uri="{FF2B5EF4-FFF2-40B4-BE49-F238E27FC236}">
                      <a16:creationId xmlns:a16="http://schemas.microsoft.com/office/drawing/2014/main" id="{631C145B-2677-4F48-AE3D-F295E8D8EF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439" y="1468439"/>
                  <a:ext cx="107950" cy="107950"/>
                </a:xfrm>
                <a:custGeom>
                  <a:avLst/>
                  <a:gdLst>
                    <a:gd name="T0" fmla="*/ 2147483646 w 89"/>
                    <a:gd name="T1" fmla="*/ 2147483646 h 89"/>
                    <a:gd name="T2" fmla="*/ 2147483646 w 89"/>
                    <a:gd name="T3" fmla="*/ 0 h 89"/>
                    <a:gd name="T4" fmla="*/ 0 w 89"/>
                    <a:gd name="T5" fmla="*/ 2147483646 h 89"/>
                    <a:gd name="T6" fmla="*/ 2147483646 w 89"/>
                    <a:gd name="T7" fmla="*/ 2147483646 h 89"/>
                    <a:gd name="T8" fmla="*/ 2147483646 w 89"/>
                    <a:gd name="T9" fmla="*/ 2147483646 h 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" h="89">
                      <a:moveTo>
                        <a:pt x="89" y="28"/>
                      </a:moveTo>
                      <a:cubicBezTo>
                        <a:pt x="75" y="25"/>
                        <a:pt x="65" y="14"/>
                        <a:pt x="62" y="0"/>
                      </a:cubicBezTo>
                      <a:cubicBezTo>
                        <a:pt x="41" y="5"/>
                        <a:pt x="21" y="9"/>
                        <a:pt x="0" y="14"/>
                      </a:cubicBezTo>
                      <a:cubicBezTo>
                        <a:pt x="8" y="50"/>
                        <a:pt x="36" y="80"/>
                        <a:pt x="73" y="89"/>
                      </a:cubicBezTo>
                      <a:cubicBezTo>
                        <a:pt x="78" y="69"/>
                        <a:pt x="83" y="49"/>
                        <a:pt x="89" y="28"/>
                      </a:cubicBezTo>
                      <a:close/>
                    </a:path>
                  </a:pathLst>
                </a:custGeom>
                <a:solidFill>
                  <a:srgbClr val="EFEFE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3" name="Freeform 27">
                  <a:extLst>
                    <a:ext uri="{FF2B5EF4-FFF2-40B4-BE49-F238E27FC236}">
                      <a16:creationId xmlns:a16="http://schemas.microsoft.com/office/drawing/2014/main" id="{63D57AFE-73F3-4ED2-B674-2B66D0B69B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301" y="1470026"/>
                  <a:ext cx="107950" cy="107950"/>
                </a:xfrm>
                <a:custGeom>
                  <a:avLst/>
                  <a:gdLst>
                    <a:gd name="T0" fmla="*/ 0 w 89"/>
                    <a:gd name="T1" fmla="*/ 2147483646 h 89"/>
                    <a:gd name="T2" fmla="*/ 2147483646 w 89"/>
                    <a:gd name="T3" fmla="*/ 0 h 89"/>
                    <a:gd name="T4" fmla="*/ 2147483646 w 89"/>
                    <a:gd name="T5" fmla="*/ 2147483646 h 89"/>
                    <a:gd name="T6" fmla="*/ 2147483646 w 89"/>
                    <a:gd name="T7" fmla="*/ 2147483646 h 89"/>
                    <a:gd name="T8" fmla="*/ 0 w 89"/>
                    <a:gd name="T9" fmla="*/ 2147483646 h 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9" h="89">
                      <a:moveTo>
                        <a:pt x="0" y="27"/>
                      </a:moveTo>
                      <a:cubicBezTo>
                        <a:pt x="13" y="24"/>
                        <a:pt x="24" y="14"/>
                        <a:pt x="28" y="0"/>
                      </a:cubicBezTo>
                      <a:cubicBezTo>
                        <a:pt x="48" y="6"/>
                        <a:pt x="69" y="11"/>
                        <a:pt x="89" y="16"/>
                      </a:cubicBezTo>
                      <a:cubicBezTo>
                        <a:pt x="79" y="53"/>
                        <a:pt x="50" y="81"/>
                        <a:pt x="13" y="89"/>
                      </a:cubicBezTo>
                      <a:cubicBezTo>
                        <a:pt x="9" y="68"/>
                        <a:pt x="4" y="48"/>
                        <a:pt x="0" y="27"/>
                      </a:cubicBezTo>
                      <a:close/>
                    </a:path>
                  </a:pathLst>
                </a:custGeom>
                <a:solidFill>
                  <a:srgbClr val="EFEFE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4" name="Freeform 28">
                  <a:extLst>
                    <a:ext uri="{FF2B5EF4-FFF2-40B4-BE49-F238E27FC236}">
                      <a16:creationId xmlns:a16="http://schemas.microsoft.com/office/drawing/2014/main" id="{CF0D72D7-8E74-49B9-B8A3-66423D2426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8276" y="1403351"/>
                  <a:ext cx="87313" cy="88900"/>
                </a:xfrm>
                <a:custGeom>
                  <a:avLst/>
                  <a:gdLst>
                    <a:gd name="T0" fmla="*/ 2147483646 w 73"/>
                    <a:gd name="T1" fmla="*/ 2147483646 h 73"/>
                    <a:gd name="T2" fmla="*/ 2147483646 w 73"/>
                    <a:gd name="T3" fmla="*/ 2147483646 h 73"/>
                    <a:gd name="T4" fmla="*/ 0 w 73"/>
                    <a:gd name="T5" fmla="*/ 2147483646 h 73"/>
                    <a:gd name="T6" fmla="*/ 2147483646 w 73"/>
                    <a:gd name="T7" fmla="*/ 0 h 73"/>
                    <a:gd name="T8" fmla="*/ 2147483646 w 73"/>
                    <a:gd name="T9" fmla="*/ 2147483646 h 7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73">
                      <a:moveTo>
                        <a:pt x="72" y="37"/>
                      </a:moveTo>
                      <a:cubicBezTo>
                        <a:pt x="72" y="57"/>
                        <a:pt x="55" y="73"/>
                        <a:pt x="35" y="73"/>
                      </a:cubicBez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7" y="0"/>
                        <a:pt x="37" y="0"/>
                      </a:cubicBezTo>
                      <a:cubicBezTo>
                        <a:pt x="57" y="1"/>
                        <a:pt x="73" y="17"/>
                        <a:pt x="72" y="37"/>
                      </a:cubicBezTo>
                      <a:close/>
                    </a:path>
                  </a:pathLst>
                </a:custGeom>
                <a:solidFill>
                  <a:srgbClr val="EFEFE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5" name="Freeform 29">
                  <a:extLst>
                    <a:ext uri="{FF2B5EF4-FFF2-40B4-BE49-F238E27FC236}">
                      <a16:creationId xmlns:a16="http://schemas.microsoft.com/office/drawing/2014/main" id="{B03D9CAD-C99D-48DE-B945-FE9637C278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964" y="1103314"/>
                  <a:ext cx="271463" cy="514350"/>
                </a:xfrm>
                <a:custGeom>
                  <a:avLst/>
                  <a:gdLst>
                    <a:gd name="T0" fmla="*/ 2147483646 w 171"/>
                    <a:gd name="T1" fmla="*/ 2147483646 h 324"/>
                    <a:gd name="T2" fmla="*/ 2147483646 w 171"/>
                    <a:gd name="T3" fmla="*/ 0 h 324"/>
                    <a:gd name="T4" fmla="*/ 0 w 171"/>
                    <a:gd name="T5" fmla="*/ 0 h 324"/>
                    <a:gd name="T6" fmla="*/ 0 w 171"/>
                    <a:gd name="T7" fmla="*/ 2147483646 h 324"/>
                    <a:gd name="T8" fmla="*/ 2147483646 w 171"/>
                    <a:gd name="T9" fmla="*/ 2147483646 h 324"/>
                    <a:gd name="T10" fmla="*/ 2147483646 w 171"/>
                    <a:gd name="T11" fmla="*/ 2147483646 h 324"/>
                    <a:gd name="T12" fmla="*/ 2147483646 w 171"/>
                    <a:gd name="T13" fmla="*/ 2147483646 h 3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71" h="324">
                      <a:moveTo>
                        <a:pt x="171" y="164"/>
                      </a:moveTo>
                      <a:lnTo>
                        <a:pt x="171" y="0"/>
                      </a:lnTo>
                      <a:lnTo>
                        <a:pt x="0" y="0"/>
                      </a:lnTo>
                      <a:lnTo>
                        <a:pt x="0" y="324"/>
                      </a:lnTo>
                      <a:lnTo>
                        <a:pt x="121" y="324"/>
                      </a:lnTo>
                      <a:lnTo>
                        <a:pt x="121" y="164"/>
                      </a:lnTo>
                      <a:lnTo>
                        <a:pt x="171" y="164"/>
                      </a:lnTo>
                      <a:close/>
                    </a:path>
                  </a:pathLst>
                </a:custGeom>
                <a:solidFill>
                  <a:srgbClr val="3195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6" name="Rectangle 30">
                  <a:extLst>
                    <a:ext uri="{FF2B5EF4-FFF2-40B4-BE49-F238E27FC236}">
                      <a16:creationId xmlns:a16="http://schemas.microsoft.com/office/drawing/2014/main" id="{329CD8F7-5AB1-4FFB-B639-0D3171B450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9751" y="1141414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7" name="Rectangle 31">
                  <a:extLst>
                    <a:ext uri="{FF2B5EF4-FFF2-40B4-BE49-F238E27FC236}">
                      <a16:creationId xmlns:a16="http://schemas.microsoft.com/office/drawing/2014/main" id="{9072DF9C-06D5-4B43-82D8-9CA2C55198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9751" y="1220789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8" name="Rectangle 32">
                  <a:extLst>
                    <a:ext uri="{FF2B5EF4-FFF2-40B4-BE49-F238E27FC236}">
                      <a16:creationId xmlns:a16="http://schemas.microsoft.com/office/drawing/2014/main" id="{0F706637-9217-4726-BDF4-A3D70847CA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9751" y="1298576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19" name="Rectangle 33">
                  <a:extLst>
                    <a:ext uri="{FF2B5EF4-FFF2-40B4-BE49-F238E27FC236}">
                      <a16:creationId xmlns:a16="http://schemas.microsoft.com/office/drawing/2014/main" id="{6FF6CEB2-66DA-4BA6-8DDB-7766FDA4C4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651" y="1141414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0" name="Rectangle 34">
                  <a:extLst>
                    <a:ext uri="{FF2B5EF4-FFF2-40B4-BE49-F238E27FC236}">
                      <a16:creationId xmlns:a16="http://schemas.microsoft.com/office/drawing/2014/main" id="{BB4E580F-277F-41CA-9465-D2B2747179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189" y="1141414"/>
                  <a:ext cx="25400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1" name="Rectangle 35">
                  <a:extLst>
                    <a:ext uri="{FF2B5EF4-FFF2-40B4-BE49-F238E27FC236}">
                      <a16:creationId xmlns:a16="http://schemas.microsoft.com/office/drawing/2014/main" id="{809AE2EE-840C-406E-9815-49BEB9EA7D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626" y="1141414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2" name="Rectangle 36">
                  <a:extLst>
                    <a:ext uri="{FF2B5EF4-FFF2-40B4-BE49-F238E27FC236}">
                      <a16:creationId xmlns:a16="http://schemas.microsoft.com/office/drawing/2014/main" id="{54E1CAB7-97F3-4A44-B5A6-62D239D302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651" y="1220789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3" name="Rectangle 37">
                  <a:extLst>
                    <a:ext uri="{FF2B5EF4-FFF2-40B4-BE49-F238E27FC236}">
                      <a16:creationId xmlns:a16="http://schemas.microsoft.com/office/drawing/2014/main" id="{C95F08DA-A989-4B2D-91B9-9FF401A163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189" y="1220789"/>
                  <a:ext cx="25400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4" name="Rectangle 38">
                  <a:extLst>
                    <a:ext uri="{FF2B5EF4-FFF2-40B4-BE49-F238E27FC236}">
                      <a16:creationId xmlns:a16="http://schemas.microsoft.com/office/drawing/2014/main" id="{845C6744-6A82-431D-B863-2B94ECDDB5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626" y="1220789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5" name="Rectangle 39">
                  <a:extLst>
                    <a:ext uri="{FF2B5EF4-FFF2-40B4-BE49-F238E27FC236}">
                      <a16:creationId xmlns:a16="http://schemas.microsoft.com/office/drawing/2014/main" id="{2B9B39A5-1EFA-4E60-AB3D-1C710CDAF5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651" y="1298576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6" name="Rectangle 40">
                  <a:extLst>
                    <a:ext uri="{FF2B5EF4-FFF2-40B4-BE49-F238E27FC236}">
                      <a16:creationId xmlns:a16="http://schemas.microsoft.com/office/drawing/2014/main" id="{568BC960-5D99-444D-A488-A62445B3B8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189" y="1298576"/>
                  <a:ext cx="25400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7" name="Rectangle 41">
                  <a:extLst>
                    <a:ext uri="{FF2B5EF4-FFF2-40B4-BE49-F238E27FC236}">
                      <a16:creationId xmlns:a16="http://schemas.microsoft.com/office/drawing/2014/main" id="{B36A8677-5C04-4B4D-965E-AD05554D3F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626" y="1298576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8" name="Rectangle 42">
                  <a:extLst>
                    <a:ext uri="{FF2B5EF4-FFF2-40B4-BE49-F238E27FC236}">
                      <a16:creationId xmlns:a16="http://schemas.microsoft.com/office/drawing/2014/main" id="{ACC0FC36-0B5C-47CB-AB35-286CE19D4E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651" y="1377951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9" name="Rectangle 43">
                  <a:extLst>
                    <a:ext uri="{FF2B5EF4-FFF2-40B4-BE49-F238E27FC236}">
                      <a16:creationId xmlns:a16="http://schemas.microsoft.com/office/drawing/2014/main" id="{83B18F78-7F46-41B6-9A65-9CAA1DE78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189" y="1377951"/>
                  <a:ext cx="25400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0" name="Rectangle 44">
                  <a:extLst>
                    <a:ext uri="{FF2B5EF4-FFF2-40B4-BE49-F238E27FC236}">
                      <a16:creationId xmlns:a16="http://schemas.microsoft.com/office/drawing/2014/main" id="{F2DBA656-69D9-49D5-B03A-CF90E3048E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626" y="1377951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1" name="Rectangle 45">
                  <a:extLst>
                    <a:ext uri="{FF2B5EF4-FFF2-40B4-BE49-F238E27FC236}">
                      <a16:creationId xmlns:a16="http://schemas.microsoft.com/office/drawing/2014/main" id="{C3CD4D82-4A6F-4977-8DFD-EA07E0DEAA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651" y="1457326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2" name="Rectangle 46">
                  <a:extLst>
                    <a:ext uri="{FF2B5EF4-FFF2-40B4-BE49-F238E27FC236}">
                      <a16:creationId xmlns:a16="http://schemas.microsoft.com/office/drawing/2014/main" id="{6B9CB076-DC6F-4289-BEAD-AF6192D255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189" y="1457326"/>
                  <a:ext cx="25400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3" name="Rectangle 47">
                  <a:extLst>
                    <a:ext uri="{FF2B5EF4-FFF2-40B4-BE49-F238E27FC236}">
                      <a16:creationId xmlns:a16="http://schemas.microsoft.com/office/drawing/2014/main" id="{DAA813F7-F8EB-4621-BBC5-F903D89D6C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626" y="1457326"/>
                  <a:ext cx="26988" cy="476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600">
                      <a:solidFill>
                        <a:schemeClr val="tx1"/>
                      </a:solidFill>
                      <a:latin typeface="Verdana" panose="020B0604030504040204" pitchFamily="34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>
                    <a:spcBef>
                      <a:spcPct val="0"/>
                    </a:spcBef>
                    <a:buFontTx/>
                    <a:buNone/>
                  </a:pPr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4" name="Freeform 48">
                  <a:extLst>
                    <a:ext uri="{FF2B5EF4-FFF2-40B4-BE49-F238E27FC236}">
                      <a16:creationId xmlns:a16="http://schemas.microsoft.com/office/drawing/2014/main" id="{8E06CE3F-64BA-429B-8FC8-3A55A3D8C1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751" y="1344614"/>
                  <a:ext cx="382588" cy="273050"/>
                </a:xfrm>
                <a:custGeom>
                  <a:avLst/>
                  <a:gdLst>
                    <a:gd name="T0" fmla="*/ 2147483646 w 316"/>
                    <a:gd name="T1" fmla="*/ 0 h 225"/>
                    <a:gd name="T2" fmla="*/ 2147483646 w 316"/>
                    <a:gd name="T3" fmla="*/ 2147483646 h 225"/>
                    <a:gd name="T4" fmla="*/ 0 w 316"/>
                    <a:gd name="T5" fmla="*/ 2147483646 h 225"/>
                    <a:gd name="T6" fmla="*/ 0 w 316"/>
                    <a:gd name="T7" fmla="*/ 2147483646 h 225"/>
                    <a:gd name="T8" fmla="*/ 2147483646 w 316"/>
                    <a:gd name="T9" fmla="*/ 2147483646 h 225"/>
                    <a:gd name="T10" fmla="*/ 2147483646 w 316"/>
                    <a:gd name="T11" fmla="*/ 0 h 225"/>
                    <a:gd name="T12" fmla="*/ 2147483646 w 316"/>
                    <a:gd name="T13" fmla="*/ 0 h 22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16" h="225">
                      <a:moveTo>
                        <a:pt x="139" y="0"/>
                      </a:moveTo>
                      <a:cubicBezTo>
                        <a:pt x="139" y="24"/>
                        <a:pt x="139" y="24"/>
                        <a:pt x="139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25"/>
                        <a:pt x="0" y="225"/>
                        <a:pt x="0" y="225"/>
                      </a:cubicBezTo>
                      <a:cubicBezTo>
                        <a:pt x="261" y="225"/>
                        <a:pt x="261" y="225"/>
                        <a:pt x="261" y="225"/>
                      </a:cubicBezTo>
                      <a:cubicBezTo>
                        <a:pt x="275" y="183"/>
                        <a:pt x="302" y="99"/>
                        <a:pt x="316" y="0"/>
                      </a:cubicBezTo>
                      <a:lnTo>
                        <a:pt x="139" y="0"/>
                      </a:lnTo>
                      <a:close/>
                    </a:path>
                  </a:pathLst>
                </a:custGeom>
                <a:solidFill>
                  <a:srgbClr val="3195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5" name="Freeform 49">
                  <a:extLst>
                    <a:ext uri="{FF2B5EF4-FFF2-40B4-BE49-F238E27FC236}">
                      <a16:creationId xmlns:a16="http://schemas.microsoft.com/office/drawing/2014/main" id="{F8F7EBD4-5463-4C32-9187-00A087ED78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439" y="1408114"/>
                  <a:ext cx="331788" cy="17463"/>
                </a:xfrm>
                <a:custGeom>
                  <a:avLst/>
                  <a:gdLst>
                    <a:gd name="T0" fmla="*/ 0 w 274"/>
                    <a:gd name="T1" fmla="*/ 0 h 14"/>
                    <a:gd name="T2" fmla="*/ 0 w 274"/>
                    <a:gd name="T3" fmla="*/ 2147483646 h 14"/>
                    <a:gd name="T4" fmla="*/ 2147483646 w 274"/>
                    <a:gd name="T5" fmla="*/ 2147483646 h 14"/>
                    <a:gd name="T6" fmla="*/ 2147483646 w 274"/>
                    <a:gd name="T7" fmla="*/ 0 h 14"/>
                    <a:gd name="T8" fmla="*/ 0 w 274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74" h="14">
                      <a:moveTo>
                        <a:pt x="0" y="0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72" y="14"/>
                        <a:pt x="272" y="14"/>
                        <a:pt x="272" y="14"/>
                      </a:cubicBezTo>
                      <a:cubicBezTo>
                        <a:pt x="273" y="9"/>
                        <a:pt x="273" y="5"/>
                        <a:pt x="27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6" name="Freeform 50">
                  <a:extLst>
                    <a:ext uri="{FF2B5EF4-FFF2-40B4-BE49-F238E27FC236}">
                      <a16:creationId xmlns:a16="http://schemas.microsoft.com/office/drawing/2014/main" id="{D42F9CA7-B5D5-4CA1-8028-D232940AA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439" y="1457326"/>
                  <a:ext cx="322263" cy="15875"/>
                </a:xfrm>
                <a:custGeom>
                  <a:avLst/>
                  <a:gdLst>
                    <a:gd name="T0" fmla="*/ 0 w 266"/>
                    <a:gd name="T1" fmla="*/ 0 h 14"/>
                    <a:gd name="T2" fmla="*/ 0 w 266"/>
                    <a:gd name="T3" fmla="*/ 2147483646 h 14"/>
                    <a:gd name="T4" fmla="*/ 2147483646 w 266"/>
                    <a:gd name="T5" fmla="*/ 2147483646 h 14"/>
                    <a:gd name="T6" fmla="*/ 2147483646 w 266"/>
                    <a:gd name="T7" fmla="*/ 0 h 14"/>
                    <a:gd name="T8" fmla="*/ 0 w 26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6" h="14">
                      <a:moveTo>
                        <a:pt x="0" y="0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63" y="14"/>
                        <a:pt x="263" y="14"/>
                        <a:pt x="263" y="14"/>
                      </a:cubicBezTo>
                      <a:cubicBezTo>
                        <a:pt x="264" y="9"/>
                        <a:pt x="265" y="4"/>
                        <a:pt x="26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7" name="Freeform 51">
                  <a:extLst>
                    <a:ext uri="{FF2B5EF4-FFF2-40B4-BE49-F238E27FC236}">
                      <a16:creationId xmlns:a16="http://schemas.microsoft.com/office/drawing/2014/main" id="{245ACEC2-ADC7-4FF7-A5B3-C032394358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439" y="1506539"/>
                  <a:ext cx="309563" cy="17463"/>
                </a:xfrm>
                <a:custGeom>
                  <a:avLst/>
                  <a:gdLst>
                    <a:gd name="T0" fmla="*/ 0 w 256"/>
                    <a:gd name="T1" fmla="*/ 0 h 14"/>
                    <a:gd name="T2" fmla="*/ 0 w 256"/>
                    <a:gd name="T3" fmla="*/ 2147483646 h 14"/>
                    <a:gd name="T4" fmla="*/ 2147483646 w 256"/>
                    <a:gd name="T5" fmla="*/ 2147483646 h 14"/>
                    <a:gd name="T6" fmla="*/ 2147483646 w 256"/>
                    <a:gd name="T7" fmla="*/ 0 h 14"/>
                    <a:gd name="T8" fmla="*/ 0 w 25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56" h="14">
                      <a:moveTo>
                        <a:pt x="0" y="0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52" y="14"/>
                        <a:pt x="252" y="14"/>
                        <a:pt x="252" y="14"/>
                      </a:cubicBezTo>
                      <a:cubicBezTo>
                        <a:pt x="253" y="10"/>
                        <a:pt x="254" y="5"/>
                        <a:pt x="256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8" name="Freeform 52">
                  <a:extLst>
                    <a:ext uri="{FF2B5EF4-FFF2-40B4-BE49-F238E27FC236}">
                      <a16:creationId xmlns:a16="http://schemas.microsoft.com/office/drawing/2014/main" id="{63720855-BC91-46E8-94AB-ECE3B22C44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439" y="1555751"/>
                  <a:ext cx="295275" cy="17463"/>
                </a:xfrm>
                <a:custGeom>
                  <a:avLst/>
                  <a:gdLst>
                    <a:gd name="T0" fmla="*/ 0 w 244"/>
                    <a:gd name="T1" fmla="*/ 0 h 14"/>
                    <a:gd name="T2" fmla="*/ 0 w 244"/>
                    <a:gd name="T3" fmla="*/ 2147483646 h 14"/>
                    <a:gd name="T4" fmla="*/ 2147483646 w 244"/>
                    <a:gd name="T5" fmla="*/ 2147483646 h 14"/>
                    <a:gd name="T6" fmla="*/ 2147483646 w 244"/>
                    <a:gd name="T7" fmla="*/ 0 h 14"/>
                    <a:gd name="T8" fmla="*/ 0 w 244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4" h="14">
                      <a:moveTo>
                        <a:pt x="0" y="0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40" y="14"/>
                        <a:pt x="240" y="14"/>
                        <a:pt x="240" y="14"/>
                      </a:cubicBezTo>
                      <a:cubicBezTo>
                        <a:pt x="241" y="10"/>
                        <a:pt x="243" y="5"/>
                        <a:pt x="244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65" name="组合 28">
                <a:extLst>
                  <a:ext uri="{FF2B5EF4-FFF2-40B4-BE49-F238E27FC236}">
                    <a16:creationId xmlns:a16="http://schemas.microsoft.com/office/drawing/2014/main" id="{C7D35092-5439-4A48-83B8-67BF253F6E5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79492" y="1987139"/>
                <a:ext cx="1465263" cy="1308101"/>
                <a:chOff x="5387976" y="323851"/>
                <a:chExt cx="1465263" cy="1308101"/>
              </a:xfrm>
            </p:grpSpPr>
            <p:sp>
              <p:nvSpPr>
                <p:cNvPr id="498" name="Freeform 53">
                  <a:extLst>
                    <a:ext uri="{FF2B5EF4-FFF2-40B4-BE49-F238E27FC236}">
                      <a16:creationId xmlns:a16="http://schemas.microsoft.com/office/drawing/2014/main" id="{EEDC948C-A740-4FA5-A334-5A4A58C4F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9439" y="785814"/>
                  <a:ext cx="269875" cy="492125"/>
                </a:xfrm>
                <a:custGeom>
                  <a:avLst/>
                  <a:gdLst>
                    <a:gd name="T0" fmla="*/ 2147483646 w 222"/>
                    <a:gd name="T1" fmla="*/ 2147483646 h 405"/>
                    <a:gd name="T2" fmla="*/ 2147483646 w 222"/>
                    <a:gd name="T3" fmla="*/ 2147483646 h 405"/>
                    <a:gd name="T4" fmla="*/ 2147483646 w 222"/>
                    <a:gd name="T5" fmla="*/ 2147483646 h 405"/>
                    <a:gd name="T6" fmla="*/ 2147483646 w 222"/>
                    <a:gd name="T7" fmla="*/ 2147483646 h 405"/>
                    <a:gd name="T8" fmla="*/ 2147483646 w 222"/>
                    <a:gd name="T9" fmla="*/ 2147483646 h 405"/>
                    <a:gd name="T10" fmla="*/ 2147483646 w 222"/>
                    <a:gd name="T11" fmla="*/ 2147483646 h 405"/>
                    <a:gd name="T12" fmla="*/ 2147483646 w 222"/>
                    <a:gd name="T13" fmla="*/ 2147483646 h 405"/>
                    <a:gd name="T14" fmla="*/ 2147483646 w 222"/>
                    <a:gd name="T15" fmla="*/ 2147483646 h 405"/>
                    <a:gd name="T16" fmla="*/ 2147483646 w 222"/>
                    <a:gd name="T17" fmla="*/ 2147483646 h 405"/>
                    <a:gd name="T18" fmla="*/ 2147483646 w 222"/>
                    <a:gd name="T19" fmla="*/ 2147483646 h 405"/>
                    <a:gd name="T20" fmla="*/ 2147483646 w 222"/>
                    <a:gd name="T21" fmla="*/ 2147483646 h 405"/>
                    <a:gd name="T22" fmla="*/ 2147483646 w 222"/>
                    <a:gd name="T23" fmla="*/ 2147483646 h 405"/>
                    <a:gd name="T24" fmla="*/ 2147483646 w 222"/>
                    <a:gd name="T25" fmla="*/ 2147483646 h 405"/>
                    <a:gd name="T26" fmla="*/ 2147483646 w 222"/>
                    <a:gd name="T27" fmla="*/ 2147483646 h 405"/>
                    <a:gd name="T28" fmla="*/ 2147483646 w 222"/>
                    <a:gd name="T29" fmla="*/ 2147483646 h 405"/>
                    <a:gd name="T30" fmla="*/ 2147483646 w 222"/>
                    <a:gd name="T31" fmla="*/ 2147483646 h 405"/>
                    <a:gd name="T32" fmla="*/ 2147483646 w 222"/>
                    <a:gd name="T33" fmla="*/ 2147483646 h 405"/>
                    <a:gd name="T34" fmla="*/ 2147483646 w 222"/>
                    <a:gd name="T35" fmla="*/ 2147483646 h 405"/>
                    <a:gd name="T36" fmla="*/ 2147483646 w 222"/>
                    <a:gd name="T37" fmla="*/ 2147483646 h 405"/>
                    <a:gd name="T38" fmla="*/ 2147483646 w 222"/>
                    <a:gd name="T39" fmla="*/ 2147483646 h 405"/>
                    <a:gd name="T40" fmla="*/ 0 w 222"/>
                    <a:gd name="T41" fmla="*/ 2147483646 h 405"/>
                    <a:gd name="T42" fmla="*/ 2147483646 w 222"/>
                    <a:gd name="T43" fmla="*/ 2147483646 h 405"/>
                    <a:gd name="T44" fmla="*/ 2147483646 w 222"/>
                    <a:gd name="T45" fmla="*/ 0 h 405"/>
                    <a:gd name="T46" fmla="*/ 2147483646 w 222"/>
                    <a:gd name="T47" fmla="*/ 2147483646 h 405"/>
                    <a:gd name="T48" fmla="*/ 2147483646 w 222"/>
                    <a:gd name="T49" fmla="*/ 2147483646 h 405"/>
                    <a:gd name="T50" fmla="*/ 2147483646 w 222"/>
                    <a:gd name="T51" fmla="*/ 2147483646 h 405"/>
                    <a:gd name="T52" fmla="*/ 2147483646 w 222"/>
                    <a:gd name="T53" fmla="*/ 2147483646 h 405"/>
                    <a:gd name="T54" fmla="*/ 2147483646 w 222"/>
                    <a:gd name="T55" fmla="*/ 2147483646 h 405"/>
                    <a:gd name="T56" fmla="*/ 2147483646 w 222"/>
                    <a:gd name="T57" fmla="*/ 2147483646 h 405"/>
                    <a:gd name="T58" fmla="*/ 2147483646 w 222"/>
                    <a:gd name="T59" fmla="*/ 2147483646 h 405"/>
                    <a:gd name="T60" fmla="*/ 2147483646 w 222"/>
                    <a:gd name="T61" fmla="*/ 2147483646 h 405"/>
                    <a:gd name="T62" fmla="*/ 2147483646 w 222"/>
                    <a:gd name="T63" fmla="*/ 2147483646 h 405"/>
                    <a:gd name="T64" fmla="*/ 2147483646 w 222"/>
                    <a:gd name="T65" fmla="*/ 2147483646 h 405"/>
                    <a:gd name="T66" fmla="*/ 2147483646 w 222"/>
                    <a:gd name="T67" fmla="*/ 2147483646 h 405"/>
                    <a:gd name="T68" fmla="*/ 2147483646 w 222"/>
                    <a:gd name="T69" fmla="*/ 2147483646 h 405"/>
                    <a:gd name="T70" fmla="*/ 2147483646 w 222"/>
                    <a:gd name="T71" fmla="*/ 2147483646 h 405"/>
                    <a:gd name="T72" fmla="*/ 2147483646 w 222"/>
                    <a:gd name="T73" fmla="*/ 2147483646 h 405"/>
                    <a:gd name="T74" fmla="*/ 2147483646 w 222"/>
                    <a:gd name="T75" fmla="*/ 2147483646 h 405"/>
                    <a:gd name="T76" fmla="*/ 2147483646 w 222"/>
                    <a:gd name="T77" fmla="*/ 2147483646 h 405"/>
                    <a:gd name="T78" fmla="*/ 2147483646 w 222"/>
                    <a:gd name="T79" fmla="*/ 2147483646 h 405"/>
                    <a:gd name="T80" fmla="*/ 2147483646 w 222"/>
                    <a:gd name="T81" fmla="*/ 2147483646 h 405"/>
                    <a:gd name="T82" fmla="*/ 2147483646 w 222"/>
                    <a:gd name="T83" fmla="*/ 2147483646 h 405"/>
                    <a:gd name="T84" fmla="*/ 2147483646 w 222"/>
                    <a:gd name="T85" fmla="*/ 2147483646 h 405"/>
                    <a:gd name="T86" fmla="*/ 2147483646 w 222"/>
                    <a:gd name="T87" fmla="*/ 2147483646 h 405"/>
                    <a:gd name="T88" fmla="*/ 2147483646 w 222"/>
                    <a:gd name="T89" fmla="*/ 2147483646 h 405"/>
                    <a:gd name="T90" fmla="*/ 2147483646 w 222"/>
                    <a:gd name="T91" fmla="*/ 2147483646 h 405"/>
                    <a:gd name="T92" fmla="*/ 2147483646 w 222"/>
                    <a:gd name="T93" fmla="*/ 2147483646 h 405"/>
                    <a:gd name="T94" fmla="*/ 2147483646 w 222"/>
                    <a:gd name="T95" fmla="*/ 2147483646 h 405"/>
                    <a:gd name="T96" fmla="*/ 2147483646 w 222"/>
                    <a:gd name="T97" fmla="*/ 2147483646 h 405"/>
                    <a:gd name="T98" fmla="*/ 2147483646 w 222"/>
                    <a:gd name="T99" fmla="*/ 2147483646 h 405"/>
                    <a:gd name="T100" fmla="*/ 2147483646 w 222"/>
                    <a:gd name="T101" fmla="*/ 2147483646 h 405"/>
                    <a:gd name="T102" fmla="*/ 2147483646 w 222"/>
                    <a:gd name="T103" fmla="*/ 2147483646 h 405"/>
                    <a:gd name="T104" fmla="*/ 2147483646 w 222"/>
                    <a:gd name="T105" fmla="*/ 2147483646 h 405"/>
                    <a:gd name="T106" fmla="*/ 2147483646 w 222"/>
                    <a:gd name="T107" fmla="*/ 2147483646 h 405"/>
                    <a:gd name="T108" fmla="*/ 2147483646 w 222"/>
                    <a:gd name="T109" fmla="*/ 2147483646 h 405"/>
                    <a:gd name="T110" fmla="*/ 2147483646 w 222"/>
                    <a:gd name="T111" fmla="*/ 2147483646 h 405"/>
                    <a:gd name="T112" fmla="*/ 2147483646 w 222"/>
                    <a:gd name="T113" fmla="*/ 2147483646 h 405"/>
                    <a:gd name="T114" fmla="*/ 2147483646 w 222"/>
                    <a:gd name="T115" fmla="*/ 2147483646 h 405"/>
                    <a:gd name="T116" fmla="*/ 2147483646 w 222"/>
                    <a:gd name="T117" fmla="*/ 2147483646 h 405"/>
                    <a:gd name="T118" fmla="*/ 2147483646 w 222"/>
                    <a:gd name="T119" fmla="*/ 2147483646 h 40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222" h="405">
                      <a:moveTo>
                        <a:pt x="63" y="405"/>
                      </a:moveTo>
                      <a:cubicBezTo>
                        <a:pt x="66" y="160"/>
                        <a:pt x="66" y="160"/>
                        <a:pt x="66" y="160"/>
                      </a:cubicBezTo>
                      <a:cubicBezTo>
                        <a:pt x="47" y="192"/>
                        <a:pt x="20" y="238"/>
                        <a:pt x="20" y="239"/>
                      </a:cubicBezTo>
                      <a:cubicBezTo>
                        <a:pt x="19" y="241"/>
                        <a:pt x="19" y="241"/>
                        <a:pt x="19" y="241"/>
                      </a:cubicBezTo>
                      <a:cubicBezTo>
                        <a:pt x="16" y="241"/>
                        <a:pt x="16" y="241"/>
                        <a:pt x="16" y="241"/>
                      </a:cubicBezTo>
                      <a:cubicBezTo>
                        <a:pt x="15" y="241"/>
                        <a:pt x="14" y="241"/>
                        <a:pt x="14" y="241"/>
                      </a:cubicBezTo>
                      <a:cubicBezTo>
                        <a:pt x="11" y="241"/>
                        <a:pt x="9" y="240"/>
                        <a:pt x="8" y="239"/>
                      </a:cubicBezTo>
                      <a:cubicBezTo>
                        <a:pt x="7" y="238"/>
                        <a:pt x="6" y="236"/>
                        <a:pt x="7" y="234"/>
                      </a:cubicBezTo>
                      <a:cubicBezTo>
                        <a:pt x="7" y="234"/>
                        <a:pt x="7" y="234"/>
                        <a:pt x="7" y="234"/>
                      </a:cubicBezTo>
                      <a:cubicBezTo>
                        <a:pt x="7" y="233"/>
                        <a:pt x="7" y="233"/>
                        <a:pt x="7" y="233"/>
                      </a:cubicBezTo>
                      <a:cubicBezTo>
                        <a:pt x="13" y="216"/>
                        <a:pt x="48" y="146"/>
                        <a:pt x="50" y="143"/>
                      </a:cubicBezTo>
                      <a:cubicBezTo>
                        <a:pt x="51" y="140"/>
                        <a:pt x="53" y="137"/>
                        <a:pt x="54" y="135"/>
                      </a:cubicBezTo>
                      <a:cubicBezTo>
                        <a:pt x="56" y="132"/>
                        <a:pt x="59" y="131"/>
                        <a:pt x="61" y="130"/>
                      </a:cubicBezTo>
                      <a:cubicBezTo>
                        <a:pt x="61" y="129"/>
                        <a:pt x="62" y="129"/>
                        <a:pt x="62" y="128"/>
                      </a:cubicBezTo>
                      <a:cubicBezTo>
                        <a:pt x="63" y="128"/>
                        <a:pt x="64" y="127"/>
                        <a:pt x="64" y="127"/>
                      </a:cubicBezTo>
                      <a:cubicBezTo>
                        <a:pt x="65" y="127"/>
                        <a:pt x="65" y="127"/>
                        <a:pt x="65" y="127"/>
                      </a:cubicBezTo>
                      <a:cubicBezTo>
                        <a:pt x="66" y="125"/>
                        <a:pt x="66" y="125"/>
                        <a:pt x="66" y="125"/>
                      </a:cubicBezTo>
                      <a:cubicBezTo>
                        <a:pt x="65" y="123"/>
                        <a:pt x="65" y="121"/>
                        <a:pt x="65" y="119"/>
                      </a:cubicBezTo>
                      <a:cubicBezTo>
                        <a:pt x="65" y="117"/>
                        <a:pt x="65" y="115"/>
                        <a:pt x="66" y="113"/>
                      </a:cubicBezTo>
                      <a:cubicBezTo>
                        <a:pt x="51" y="90"/>
                        <a:pt x="2" y="11"/>
                        <a:pt x="1" y="1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2" y="0"/>
                        <a:pt x="6" y="0"/>
                        <a:pt x="7" y="0"/>
                      </a:cubicBezTo>
                      <a:cubicBezTo>
                        <a:pt x="9" y="0"/>
                        <a:pt x="10" y="0"/>
                        <a:pt x="11" y="1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7" y="7"/>
                        <a:pt x="29" y="22"/>
                        <a:pt x="47" y="46"/>
                      </a:cubicBezTo>
                      <a:cubicBezTo>
                        <a:pt x="54" y="56"/>
                        <a:pt x="60" y="65"/>
                        <a:pt x="65" y="71"/>
                      </a:cubicBezTo>
                      <a:cubicBezTo>
                        <a:pt x="67" y="74"/>
                        <a:pt x="69" y="77"/>
                        <a:pt x="70" y="78"/>
                      </a:cubicBezTo>
                      <a:cubicBezTo>
                        <a:pt x="71" y="80"/>
                        <a:pt x="72" y="81"/>
                        <a:pt x="72" y="81"/>
                      </a:cubicBezTo>
                      <a:cubicBezTo>
                        <a:pt x="72" y="81"/>
                        <a:pt x="72" y="81"/>
                        <a:pt x="72" y="81"/>
                      </a:cubicBezTo>
                      <a:cubicBezTo>
                        <a:pt x="74" y="84"/>
                        <a:pt x="76" y="86"/>
                        <a:pt x="77" y="89"/>
                      </a:cubicBezTo>
                      <a:cubicBezTo>
                        <a:pt x="79" y="92"/>
                        <a:pt x="79" y="94"/>
                        <a:pt x="79" y="97"/>
                      </a:cubicBezTo>
                      <a:cubicBezTo>
                        <a:pt x="79" y="98"/>
                        <a:pt x="79" y="98"/>
                        <a:pt x="79" y="99"/>
                      </a:cubicBezTo>
                      <a:cubicBezTo>
                        <a:pt x="79" y="100"/>
                        <a:pt x="79" y="101"/>
                        <a:pt x="80" y="102"/>
                      </a:cubicBezTo>
                      <a:cubicBezTo>
                        <a:pt x="80" y="102"/>
                        <a:pt x="80" y="102"/>
                        <a:pt x="80" y="102"/>
                      </a:cubicBezTo>
                      <a:cubicBezTo>
                        <a:pt x="82" y="105"/>
                        <a:pt x="82" y="105"/>
                        <a:pt x="82" y="105"/>
                      </a:cubicBezTo>
                      <a:cubicBezTo>
                        <a:pt x="85" y="106"/>
                        <a:pt x="87" y="107"/>
                        <a:pt x="89" y="109"/>
                      </a:cubicBezTo>
                      <a:cubicBezTo>
                        <a:pt x="89" y="109"/>
                        <a:pt x="89" y="109"/>
                        <a:pt x="89" y="109"/>
                      </a:cubicBezTo>
                      <a:cubicBezTo>
                        <a:pt x="91" y="109"/>
                        <a:pt x="91" y="109"/>
                        <a:pt x="91" y="109"/>
                      </a:cubicBezTo>
                      <a:cubicBezTo>
                        <a:pt x="93" y="109"/>
                        <a:pt x="95" y="109"/>
                        <a:pt x="97" y="109"/>
                      </a:cubicBezTo>
                      <a:cubicBezTo>
                        <a:pt x="128" y="109"/>
                        <a:pt x="215" y="110"/>
                        <a:pt x="216" y="110"/>
                      </a:cubicBezTo>
                      <a:cubicBezTo>
                        <a:pt x="218" y="110"/>
                        <a:pt x="218" y="110"/>
                        <a:pt x="218" y="110"/>
                      </a:cubicBezTo>
                      <a:cubicBezTo>
                        <a:pt x="219" y="112"/>
                        <a:pt x="219" y="112"/>
                        <a:pt x="219" y="112"/>
                      </a:cubicBezTo>
                      <a:cubicBezTo>
                        <a:pt x="222" y="115"/>
                        <a:pt x="222" y="117"/>
                        <a:pt x="222" y="120"/>
                      </a:cubicBezTo>
                      <a:cubicBezTo>
                        <a:pt x="221" y="122"/>
                        <a:pt x="219" y="123"/>
                        <a:pt x="218" y="124"/>
                      </a:cubicBezTo>
                      <a:cubicBezTo>
                        <a:pt x="218" y="124"/>
                        <a:pt x="218" y="124"/>
                        <a:pt x="218" y="124"/>
                      </a:cubicBezTo>
                      <a:cubicBezTo>
                        <a:pt x="217" y="124"/>
                        <a:pt x="217" y="124"/>
                        <a:pt x="217" y="124"/>
                      </a:cubicBezTo>
                      <a:cubicBezTo>
                        <a:pt x="199" y="128"/>
                        <a:pt x="121" y="132"/>
                        <a:pt x="117" y="132"/>
                      </a:cubicBezTo>
                      <a:cubicBezTo>
                        <a:pt x="116" y="132"/>
                        <a:pt x="114" y="132"/>
                        <a:pt x="113" y="132"/>
                      </a:cubicBezTo>
                      <a:cubicBezTo>
                        <a:pt x="111" y="132"/>
                        <a:pt x="109" y="132"/>
                        <a:pt x="108" y="132"/>
                      </a:cubicBezTo>
                      <a:cubicBezTo>
                        <a:pt x="105" y="131"/>
                        <a:pt x="103" y="130"/>
                        <a:pt x="101" y="129"/>
                      </a:cubicBezTo>
                      <a:cubicBezTo>
                        <a:pt x="100" y="129"/>
                        <a:pt x="99" y="128"/>
                        <a:pt x="99" y="128"/>
                      </a:cubicBezTo>
                      <a:cubicBezTo>
                        <a:pt x="98" y="128"/>
                        <a:pt x="97" y="127"/>
                        <a:pt x="96" y="127"/>
                      </a:cubicBezTo>
                      <a:cubicBezTo>
                        <a:pt x="96" y="127"/>
                        <a:pt x="96" y="127"/>
                        <a:pt x="96" y="127"/>
                      </a:cubicBezTo>
                      <a:cubicBezTo>
                        <a:pt x="92" y="127"/>
                        <a:pt x="92" y="127"/>
                        <a:pt x="92" y="127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2" y="136"/>
                        <a:pt x="91" y="138"/>
                        <a:pt x="89" y="139"/>
                      </a:cubicBezTo>
                      <a:cubicBezTo>
                        <a:pt x="93" y="405"/>
                        <a:pt x="93" y="405"/>
                        <a:pt x="93" y="405"/>
                      </a:cubicBezTo>
                      <a:lnTo>
                        <a:pt x="63" y="405"/>
                      </a:lnTo>
                      <a:close/>
                    </a:path>
                  </a:pathLst>
                </a:custGeom>
                <a:solidFill>
                  <a:srgbClr val="3195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9" name="Freeform 54">
                  <a:extLst>
                    <a:ext uri="{FF2B5EF4-FFF2-40B4-BE49-F238E27FC236}">
                      <a16:creationId xmlns:a16="http://schemas.microsoft.com/office/drawing/2014/main" id="{8A1E09E2-1A23-4EA6-997A-E65C73B9AB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7976" y="1182689"/>
                  <a:ext cx="1465263" cy="449263"/>
                </a:xfrm>
                <a:custGeom>
                  <a:avLst/>
                  <a:gdLst>
                    <a:gd name="T0" fmla="*/ 2147483646 w 1208"/>
                    <a:gd name="T1" fmla="*/ 2147483646 h 371"/>
                    <a:gd name="T2" fmla="*/ 2147483646 w 1208"/>
                    <a:gd name="T3" fmla="*/ 2147483646 h 371"/>
                    <a:gd name="T4" fmla="*/ 2147483646 w 1208"/>
                    <a:gd name="T5" fmla="*/ 2147483646 h 371"/>
                    <a:gd name="T6" fmla="*/ 2147483646 w 1208"/>
                    <a:gd name="T7" fmla="*/ 2147483646 h 371"/>
                    <a:gd name="T8" fmla="*/ 2147483646 w 1208"/>
                    <a:gd name="T9" fmla="*/ 2147483646 h 371"/>
                    <a:gd name="T10" fmla="*/ 2147483646 w 1208"/>
                    <a:gd name="T11" fmla="*/ 2147483646 h 371"/>
                    <a:gd name="T12" fmla="*/ 2147483646 w 1208"/>
                    <a:gd name="T13" fmla="*/ 0 h 371"/>
                    <a:gd name="T14" fmla="*/ 2147483646 w 1208"/>
                    <a:gd name="T15" fmla="*/ 2147483646 h 371"/>
                    <a:gd name="T16" fmla="*/ 2147483646 w 1208"/>
                    <a:gd name="T17" fmla="*/ 2147483646 h 371"/>
                    <a:gd name="T18" fmla="*/ 2147483646 w 1208"/>
                    <a:gd name="T19" fmla="*/ 2147483646 h 371"/>
                    <a:gd name="T20" fmla="*/ 2147483646 w 1208"/>
                    <a:gd name="T21" fmla="*/ 2147483646 h 371"/>
                    <a:gd name="T22" fmla="*/ 2147483646 w 1208"/>
                    <a:gd name="T23" fmla="*/ 2147483646 h 371"/>
                    <a:gd name="T24" fmla="*/ 2147483646 w 1208"/>
                    <a:gd name="T25" fmla="*/ 2147483646 h 371"/>
                    <a:gd name="T26" fmla="*/ 0 w 1208"/>
                    <a:gd name="T27" fmla="*/ 2147483646 h 371"/>
                    <a:gd name="T28" fmla="*/ 2147483646 w 1208"/>
                    <a:gd name="T29" fmla="*/ 2147483646 h 371"/>
                    <a:gd name="T30" fmla="*/ 2147483646 w 1208"/>
                    <a:gd name="T31" fmla="*/ 2147483646 h 371"/>
                    <a:gd name="T32" fmla="*/ 2147483646 w 1208"/>
                    <a:gd name="T33" fmla="*/ 2147483646 h 371"/>
                    <a:gd name="T34" fmla="*/ 2147483646 w 1208"/>
                    <a:gd name="T35" fmla="*/ 2147483646 h 371"/>
                    <a:gd name="T36" fmla="*/ 2147483646 w 1208"/>
                    <a:gd name="T37" fmla="*/ 2147483646 h 371"/>
                    <a:gd name="T38" fmla="*/ 2147483646 w 1208"/>
                    <a:gd name="T39" fmla="*/ 2147483646 h 371"/>
                    <a:gd name="T40" fmla="*/ 2147483646 w 1208"/>
                    <a:gd name="T41" fmla="*/ 2147483646 h 371"/>
                    <a:gd name="T42" fmla="*/ 2147483646 w 1208"/>
                    <a:gd name="T43" fmla="*/ 2147483646 h 371"/>
                    <a:gd name="T44" fmla="*/ 2147483646 w 1208"/>
                    <a:gd name="T45" fmla="*/ 2147483646 h 371"/>
                    <a:gd name="T46" fmla="*/ 2147483646 w 1208"/>
                    <a:gd name="T47" fmla="*/ 2147483646 h 371"/>
                    <a:gd name="T48" fmla="*/ 2147483646 w 1208"/>
                    <a:gd name="T49" fmla="*/ 2147483646 h 371"/>
                    <a:gd name="T50" fmla="*/ 2147483646 w 1208"/>
                    <a:gd name="T51" fmla="*/ 2147483646 h 371"/>
                    <a:gd name="T52" fmla="*/ 2147483646 w 1208"/>
                    <a:gd name="T53" fmla="*/ 2147483646 h 371"/>
                    <a:gd name="T54" fmla="*/ 2147483646 w 1208"/>
                    <a:gd name="T55" fmla="*/ 2147483646 h 37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1208" h="371">
                      <a:moveTo>
                        <a:pt x="904" y="52"/>
                      </a:moveTo>
                      <a:cubicBezTo>
                        <a:pt x="907" y="161"/>
                        <a:pt x="907" y="161"/>
                        <a:pt x="907" y="161"/>
                      </a:cubicBezTo>
                      <a:cubicBezTo>
                        <a:pt x="871" y="161"/>
                        <a:pt x="871" y="161"/>
                        <a:pt x="871" y="161"/>
                      </a:cubicBezTo>
                      <a:cubicBezTo>
                        <a:pt x="862" y="161"/>
                        <a:pt x="862" y="161"/>
                        <a:pt x="862" y="161"/>
                      </a:cubicBezTo>
                      <a:cubicBezTo>
                        <a:pt x="826" y="161"/>
                        <a:pt x="826" y="161"/>
                        <a:pt x="826" y="161"/>
                      </a:cubicBezTo>
                      <a:cubicBezTo>
                        <a:pt x="830" y="29"/>
                        <a:pt x="830" y="29"/>
                        <a:pt x="830" y="29"/>
                      </a:cubicBezTo>
                      <a:cubicBezTo>
                        <a:pt x="760" y="10"/>
                        <a:pt x="684" y="0"/>
                        <a:pt x="604" y="0"/>
                      </a:cubicBezTo>
                      <a:cubicBezTo>
                        <a:pt x="588" y="0"/>
                        <a:pt x="571" y="1"/>
                        <a:pt x="555" y="2"/>
                      </a:cubicBezTo>
                      <a:cubicBezTo>
                        <a:pt x="558" y="106"/>
                        <a:pt x="558" y="106"/>
                        <a:pt x="558" y="106"/>
                      </a:cubicBezTo>
                      <a:cubicBezTo>
                        <a:pt x="533" y="106"/>
                        <a:pt x="533" y="106"/>
                        <a:pt x="533" y="106"/>
                      </a:cubicBezTo>
                      <a:cubicBezTo>
                        <a:pt x="526" y="106"/>
                        <a:pt x="526" y="106"/>
                        <a:pt x="526" y="106"/>
                      </a:cubicBezTo>
                      <a:cubicBezTo>
                        <a:pt x="501" y="106"/>
                        <a:pt x="501" y="106"/>
                        <a:pt x="501" y="106"/>
                      </a:cubicBezTo>
                      <a:cubicBezTo>
                        <a:pt x="504" y="6"/>
                        <a:pt x="504" y="6"/>
                        <a:pt x="504" y="6"/>
                      </a:cubicBezTo>
                      <a:cubicBezTo>
                        <a:pt x="230" y="36"/>
                        <a:pt x="18" y="186"/>
                        <a:pt x="0" y="371"/>
                      </a:cubicBezTo>
                      <a:cubicBezTo>
                        <a:pt x="1208" y="371"/>
                        <a:pt x="1208" y="371"/>
                        <a:pt x="1208" y="371"/>
                      </a:cubicBezTo>
                      <a:cubicBezTo>
                        <a:pt x="1195" y="234"/>
                        <a:pt x="1075" y="116"/>
                        <a:pt x="904" y="52"/>
                      </a:cubicBezTo>
                      <a:close/>
                      <a:moveTo>
                        <a:pt x="361" y="340"/>
                      </a:moveTo>
                      <a:cubicBezTo>
                        <a:pt x="361" y="340"/>
                        <a:pt x="330" y="278"/>
                        <a:pt x="120" y="266"/>
                      </a:cubicBezTo>
                      <a:cubicBezTo>
                        <a:pt x="120" y="266"/>
                        <a:pt x="317" y="236"/>
                        <a:pt x="412" y="340"/>
                      </a:cubicBezTo>
                      <a:lnTo>
                        <a:pt x="361" y="340"/>
                      </a:lnTo>
                      <a:close/>
                      <a:moveTo>
                        <a:pt x="589" y="344"/>
                      </a:moveTo>
                      <a:cubicBezTo>
                        <a:pt x="589" y="344"/>
                        <a:pt x="525" y="218"/>
                        <a:pt x="99" y="194"/>
                      </a:cubicBezTo>
                      <a:cubicBezTo>
                        <a:pt x="99" y="194"/>
                        <a:pt x="498" y="134"/>
                        <a:pt x="692" y="344"/>
                      </a:cubicBezTo>
                      <a:lnTo>
                        <a:pt x="589" y="344"/>
                      </a:lnTo>
                      <a:close/>
                      <a:moveTo>
                        <a:pt x="839" y="340"/>
                      </a:moveTo>
                      <a:cubicBezTo>
                        <a:pt x="839" y="340"/>
                        <a:pt x="752" y="168"/>
                        <a:pt x="169" y="135"/>
                      </a:cubicBezTo>
                      <a:cubicBezTo>
                        <a:pt x="169" y="135"/>
                        <a:pt x="714" y="53"/>
                        <a:pt x="980" y="340"/>
                      </a:cubicBezTo>
                      <a:lnTo>
                        <a:pt x="839" y="340"/>
                      </a:lnTo>
                      <a:close/>
                    </a:path>
                  </a:pathLst>
                </a:custGeom>
                <a:solidFill>
                  <a:srgbClr val="1A1A1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0" name="Freeform 55">
                  <a:extLst>
                    <a:ext uri="{FF2B5EF4-FFF2-40B4-BE49-F238E27FC236}">
                      <a16:creationId xmlns:a16="http://schemas.microsoft.com/office/drawing/2014/main" id="{C7EA3CE5-B16A-447F-8F10-DD1B992B44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876" y="323851"/>
                  <a:ext cx="573088" cy="1044575"/>
                </a:xfrm>
                <a:custGeom>
                  <a:avLst/>
                  <a:gdLst>
                    <a:gd name="T0" fmla="*/ 2147483646 w 473"/>
                    <a:gd name="T1" fmla="*/ 2147483646 h 862"/>
                    <a:gd name="T2" fmla="*/ 2147483646 w 473"/>
                    <a:gd name="T3" fmla="*/ 2147483646 h 862"/>
                    <a:gd name="T4" fmla="*/ 2147483646 w 473"/>
                    <a:gd name="T5" fmla="*/ 2147483646 h 862"/>
                    <a:gd name="T6" fmla="*/ 2147483646 w 473"/>
                    <a:gd name="T7" fmla="*/ 2147483646 h 862"/>
                    <a:gd name="T8" fmla="*/ 2147483646 w 473"/>
                    <a:gd name="T9" fmla="*/ 2147483646 h 862"/>
                    <a:gd name="T10" fmla="*/ 2147483646 w 473"/>
                    <a:gd name="T11" fmla="*/ 2147483646 h 862"/>
                    <a:gd name="T12" fmla="*/ 2147483646 w 473"/>
                    <a:gd name="T13" fmla="*/ 2147483646 h 862"/>
                    <a:gd name="T14" fmla="*/ 2147483646 w 473"/>
                    <a:gd name="T15" fmla="*/ 2147483646 h 862"/>
                    <a:gd name="T16" fmla="*/ 2147483646 w 473"/>
                    <a:gd name="T17" fmla="*/ 2147483646 h 862"/>
                    <a:gd name="T18" fmla="*/ 2147483646 w 473"/>
                    <a:gd name="T19" fmla="*/ 2147483646 h 862"/>
                    <a:gd name="T20" fmla="*/ 2147483646 w 473"/>
                    <a:gd name="T21" fmla="*/ 2147483646 h 862"/>
                    <a:gd name="T22" fmla="*/ 2147483646 w 473"/>
                    <a:gd name="T23" fmla="*/ 2147483646 h 862"/>
                    <a:gd name="T24" fmla="*/ 2147483646 w 473"/>
                    <a:gd name="T25" fmla="*/ 2147483646 h 862"/>
                    <a:gd name="T26" fmla="*/ 2147483646 w 473"/>
                    <a:gd name="T27" fmla="*/ 2147483646 h 862"/>
                    <a:gd name="T28" fmla="*/ 2147483646 w 473"/>
                    <a:gd name="T29" fmla="*/ 2147483646 h 862"/>
                    <a:gd name="T30" fmla="*/ 2147483646 w 473"/>
                    <a:gd name="T31" fmla="*/ 2147483646 h 862"/>
                    <a:gd name="T32" fmla="*/ 2147483646 w 473"/>
                    <a:gd name="T33" fmla="*/ 2147483646 h 862"/>
                    <a:gd name="T34" fmla="*/ 2147483646 w 473"/>
                    <a:gd name="T35" fmla="*/ 2147483646 h 862"/>
                    <a:gd name="T36" fmla="*/ 2147483646 w 473"/>
                    <a:gd name="T37" fmla="*/ 2147483646 h 862"/>
                    <a:gd name="T38" fmla="*/ 2147483646 w 473"/>
                    <a:gd name="T39" fmla="*/ 2147483646 h 862"/>
                    <a:gd name="T40" fmla="*/ 2147483646 w 473"/>
                    <a:gd name="T41" fmla="*/ 2147483646 h 862"/>
                    <a:gd name="T42" fmla="*/ 2147483646 w 473"/>
                    <a:gd name="T43" fmla="*/ 0 h 862"/>
                    <a:gd name="T44" fmla="*/ 2147483646 w 473"/>
                    <a:gd name="T45" fmla="*/ 2147483646 h 862"/>
                    <a:gd name="T46" fmla="*/ 0 w 473"/>
                    <a:gd name="T47" fmla="*/ 2147483646 h 862"/>
                    <a:gd name="T48" fmla="*/ 2147483646 w 473"/>
                    <a:gd name="T49" fmla="*/ 2147483646 h 862"/>
                    <a:gd name="T50" fmla="*/ 2147483646 w 473"/>
                    <a:gd name="T51" fmla="*/ 2147483646 h 862"/>
                    <a:gd name="T52" fmla="*/ 2147483646 w 473"/>
                    <a:gd name="T53" fmla="*/ 2147483646 h 862"/>
                    <a:gd name="T54" fmla="*/ 2147483646 w 473"/>
                    <a:gd name="T55" fmla="*/ 2147483646 h 862"/>
                    <a:gd name="T56" fmla="*/ 2147483646 w 473"/>
                    <a:gd name="T57" fmla="*/ 2147483646 h 862"/>
                    <a:gd name="T58" fmla="*/ 2147483646 w 473"/>
                    <a:gd name="T59" fmla="*/ 2147483646 h 862"/>
                    <a:gd name="T60" fmla="*/ 2147483646 w 473"/>
                    <a:gd name="T61" fmla="*/ 2147483646 h 862"/>
                    <a:gd name="T62" fmla="*/ 2147483646 w 473"/>
                    <a:gd name="T63" fmla="*/ 2147483646 h 862"/>
                    <a:gd name="T64" fmla="*/ 2147483646 w 473"/>
                    <a:gd name="T65" fmla="*/ 2147483646 h 862"/>
                    <a:gd name="T66" fmla="*/ 2147483646 w 473"/>
                    <a:gd name="T67" fmla="*/ 2147483646 h 862"/>
                    <a:gd name="T68" fmla="*/ 2147483646 w 473"/>
                    <a:gd name="T69" fmla="*/ 2147483646 h 862"/>
                    <a:gd name="T70" fmla="*/ 2147483646 w 473"/>
                    <a:gd name="T71" fmla="*/ 2147483646 h 862"/>
                    <a:gd name="T72" fmla="*/ 2147483646 w 473"/>
                    <a:gd name="T73" fmla="*/ 2147483646 h 862"/>
                    <a:gd name="T74" fmla="*/ 2147483646 w 473"/>
                    <a:gd name="T75" fmla="*/ 2147483646 h 862"/>
                    <a:gd name="T76" fmla="*/ 2147483646 w 473"/>
                    <a:gd name="T77" fmla="*/ 2147483646 h 862"/>
                    <a:gd name="T78" fmla="*/ 2147483646 w 473"/>
                    <a:gd name="T79" fmla="*/ 2147483646 h 862"/>
                    <a:gd name="T80" fmla="*/ 2147483646 w 473"/>
                    <a:gd name="T81" fmla="*/ 2147483646 h 862"/>
                    <a:gd name="T82" fmla="*/ 2147483646 w 473"/>
                    <a:gd name="T83" fmla="*/ 2147483646 h 862"/>
                    <a:gd name="T84" fmla="*/ 2147483646 w 473"/>
                    <a:gd name="T85" fmla="*/ 2147483646 h 862"/>
                    <a:gd name="T86" fmla="*/ 2147483646 w 473"/>
                    <a:gd name="T87" fmla="*/ 2147483646 h 862"/>
                    <a:gd name="T88" fmla="*/ 2147483646 w 473"/>
                    <a:gd name="T89" fmla="*/ 2147483646 h 862"/>
                    <a:gd name="T90" fmla="*/ 2147483646 w 473"/>
                    <a:gd name="T91" fmla="*/ 2147483646 h 862"/>
                    <a:gd name="T92" fmla="*/ 2147483646 w 473"/>
                    <a:gd name="T93" fmla="*/ 2147483646 h 862"/>
                    <a:gd name="T94" fmla="*/ 2147483646 w 473"/>
                    <a:gd name="T95" fmla="*/ 2147483646 h 862"/>
                    <a:gd name="T96" fmla="*/ 2147483646 w 473"/>
                    <a:gd name="T97" fmla="*/ 2147483646 h 862"/>
                    <a:gd name="T98" fmla="*/ 2147483646 w 473"/>
                    <a:gd name="T99" fmla="*/ 2147483646 h 862"/>
                    <a:gd name="T100" fmla="*/ 2147483646 w 473"/>
                    <a:gd name="T101" fmla="*/ 2147483646 h 862"/>
                    <a:gd name="T102" fmla="*/ 2147483646 w 473"/>
                    <a:gd name="T103" fmla="*/ 2147483646 h 862"/>
                    <a:gd name="T104" fmla="*/ 2147483646 w 473"/>
                    <a:gd name="T105" fmla="*/ 2147483646 h 862"/>
                    <a:gd name="T106" fmla="*/ 2147483646 w 473"/>
                    <a:gd name="T107" fmla="*/ 2147483646 h 862"/>
                    <a:gd name="T108" fmla="*/ 2147483646 w 473"/>
                    <a:gd name="T109" fmla="*/ 2147483646 h 862"/>
                    <a:gd name="T110" fmla="*/ 2147483646 w 473"/>
                    <a:gd name="T111" fmla="*/ 2147483646 h 862"/>
                    <a:gd name="T112" fmla="*/ 2147483646 w 473"/>
                    <a:gd name="T113" fmla="*/ 2147483646 h 862"/>
                    <a:gd name="T114" fmla="*/ 2147483646 w 473"/>
                    <a:gd name="T115" fmla="*/ 2147483646 h 862"/>
                    <a:gd name="T116" fmla="*/ 2147483646 w 473"/>
                    <a:gd name="T117" fmla="*/ 2147483646 h 862"/>
                    <a:gd name="T118" fmla="*/ 2147483646 w 473"/>
                    <a:gd name="T119" fmla="*/ 2147483646 h 862"/>
                    <a:gd name="T120" fmla="*/ 2147483646 w 473"/>
                    <a:gd name="T121" fmla="*/ 2147483646 h 862"/>
                    <a:gd name="T122" fmla="*/ 2147483646 w 473"/>
                    <a:gd name="T123" fmla="*/ 2147483646 h 86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0" t="0" r="r" b="b"/>
                  <a:pathLst>
                    <a:path w="473" h="862">
                      <a:moveTo>
                        <a:pt x="466" y="239"/>
                      </a:moveTo>
                      <a:cubicBezTo>
                        <a:pt x="463" y="236"/>
                        <a:pt x="463" y="236"/>
                        <a:pt x="463" y="236"/>
                      </a:cubicBezTo>
                      <a:cubicBezTo>
                        <a:pt x="458" y="235"/>
                        <a:pt x="458" y="235"/>
                        <a:pt x="458" y="235"/>
                      </a:cubicBezTo>
                      <a:cubicBezTo>
                        <a:pt x="456" y="235"/>
                        <a:pt x="272" y="233"/>
                        <a:pt x="206" y="233"/>
                      </a:cubicBezTo>
                      <a:cubicBezTo>
                        <a:pt x="201" y="233"/>
                        <a:pt x="197" y="233"/>
                        <a:pt x="194" y="233"/>
                      </a:cubicBezTo>
                      <a:cubicBezTo>
                        <a:pt x="190" y="233"/>
                        <a:pt x="190" y="233"/>
                        <a:pt x="190" y="233"/>
                      </a:cubicBezTo>
                      <a:cubicBezTo>
                        <a:pt x="189" y="233"/>
                        <a:pt x="189" y="233"/>
                        <a:pt x="189" y="233"/>
                      </a:cubicBezTo>
                      <a:cubicBezTo>
                        <a:pt x="185" y="229"/>
                        <a:pt x="180" y="226"/>
                        <a:pt x="174" y="225"/>
                      </a:cubicBezTo>
                      <a:cubicBezTo>
                        <a:pt x="169" y="218"/>
                        <a:pt x="169" y="218"/>
                        <a:pt x="169" y="218"/>
                      </a:cubicBezTo>
                      <a:cubicBezTo>
                        <a:pt x="169" y="218"/>
                        <a:pt x="169" y="218"/>
                        <a:pt x="169" y="218"/>
                      </a:cubicBezTo>
                      <a:cubicBezTo>
                        <a:pt x="169" y="216"/>
                        <a:pt x="169" y="214"/>
                        <a:pt x="168" y="211"/>
                      </a:cubicBezTo>
                      <a:cubicBezTo>
                        <a:pt x="168" y="210"/>
                        <a:pt x="168" y="209"/>
                        <a:pt x="168" y="207"/>
                      </a:cubicBezTo>
                      <a:cubicBezTo>
                        <a:pt x="168" y="202"/>
                        <a:pt x="167" y="196"/>
                        <a:pt x="164" y="190"/>
                      </a:cubicBezTo>
                      <a:cubicBezTo>
                        <a:pt x="161" y="184"/>
                        <a:pt x="157" y="179"/>
                        <a:pt x="154" y="174"/>
                      </a:cubicBezTo>
                      <a:cubicBezTo>
                        <a:pt x="154" y="174"/>
                        <a:pt x="154" y="174"/>
                        <a:pt x="154" y="174"/>
                      </a:cubicBezTo>
                      <a:cubicBezTo>
                        <a:pt x="153" y="172"/>
                        <a:pt x="151" y="170"/>
                        <a:pt x="149" y="168"/>
                      </a:cubicBezTo>
                      <a:cubicBezTo>
                        <a:pt x="147" y="164"/>
                        <a:pt x="143" y="158"/>
                        <a:pt x="138" y="151"/>
                      </a:cubicBezTo>
                      <a:cubicBezTo>
                        <a:pt x="129" y="139"/>
                        <a:pt x="115" y="120"/>
                        <a:pt x="100" y="100"/>
                      </a:cubicBezTo>
                      <a:cubicBezTo>
                        <a:pt x="62" y="48"/>
                        <a:pt x="36" y="16"/>
                        <a:pt x="25" y="4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2" y="2"/>
                        <a:pt x="20" y="0"/>
                        <a:pt x="16" y="0"/>
                      </a:cubicBezTo>
                      <a:cubicBezTo>
                        <a:pt x="12" y="0"/>
                        <a:pt x="5" y="2"/>
                        <a:pt x="1" y="14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3" y="25"/>
                        <a:pt x="107" y="192"/>
                        <a:pt x="140" y="242"/>
                      </a:cubicBezTo>
                      <a:cubicBezTo>
                        <a:pt x="138" y="246"/>
                        <a:pt x="137" y="250"/>
                        <a:pt x="137" y="254"/>
                      </a:cubicBezTo>
                      <a:cubicBezTo>
                        <a:pt x="137" y="259"/>
                        <a:pt x="138" y="263"/>
                        <a:pt x="140" y="267"/>
                      </a:cubicBezTo>
                      <a:cubicBezTo>
                        <a:pt x="138" y="270"/>
                        <a:pt x="138" y="270"/>
                        <a:pt x="138" y="270"/>
                      </a:cubicBezTo>
                      <a:cubicBezTo>
                        <a:pt x="137" y="271"/>
                        <a:pt x="137" y="271"/>
                        <a:pt x="137" y="271"/>
                      </a:cubicBezTo>
                      <a:cubicBezTo>
                        <a:pt x="136" y="272"/>
                        <a:pt x="134" y="273"/>
                        <a:pt x="133" y="274"/>
                      </a:cubicBezTo>
                      <a:cubicBezTo>
                        <a:pt x="132" y="275"/>
                        <a:pt x="130" y="276"/>
                        <a:pt x="129" y="277"/>
                      </a:cubicBezTo>
                      <a:cubicBezTo>
                        <a:pt x="125" y="279"/>
                        <a:pt x="120" y="282"/>
                        <a:pt x="116" y="287"/>
                      </a:cubicBezTo>
                      <a:cubicBezTo>
                        <a:pt x="112" y="293"/>
                        <a:pt x="109" y="299"/>
                        <a:pt x="106" y="304"/>
                      </a:cubicBezTo>
                      <a:cubicBezTo>
                        <a:pt x="103" y="311"/>
                        <a:pt x="27" y="460"/>
                        <a:pt x="15" y="497"/>
                      </a:cubicBezTo>
                      <a:cubicBezTo>
                        <a:pt x="14" y="498"/>
                        <a:pt x="14" y="498"/>
                        <a:pt x="14" y="498"/>
                      </a:cubicBezTo>
                      <a:cubicBezTo>
                        <a:pt x="14" y="499"/>
                        <a:pt x="14" y="499"/>
                        <a:pt x="14" y="499"/>
                      </a:cubicBezTo>
                      <a:cubicBezTo>
                        <a:pt x="14" y="502"/>
                        <a:pt x="15" y="506"/>
                        <a:pt x="17" y="509"/>
                      </a:cubicBezTo>
                      <a:cubicBezTo>
                        <a:pt x="19" y="511"/>
                        <a:pt x="23" y="514"/>
                        <a:pt x="29" y="514"/>
                      </a:cubicBezTo>
                      <a:cubicBezTo>
                        <a:pt x="31" y="514"/>
                        <a:pt x="33" y="514"/>
                        <a:pt x="35" y="513"/>
                      </a:cubicBezTo>
                      <a:cubicBezTo>
                        <a:pt x="39" y="512"/>
                        <a:pt x="39" y="512"/>
                        <a:pt x="39" y="512"/>
                      </a:cubicBezTo>
                      <a:cubicBezTo>
                        <a:pt x="42" y="508"/>
                        <a:pt x="42" y="508"/>
                        <a:pt x="42" y="508"/>
                      </a:cubicBezTo>
                      <a:cubicBezTo>
                        <a:pt x="43" y="507"/>
                        <a:pt x="100" y="410"/>
                        <a:pt x="141" y="340"/>
                      </a:cubicBezTo>
                      <a:cubicBezTo>
                        <a:pt x="135" y="728"/>
                        <a:pt x="135" y="728"/>
                        <a:pt x="135" y="728"/>
                      </a:cubicBezTo>
                      <a:cubicBezTo>
                        <a:pt x="133" y="862"/>
                        <a:pt x="133" y="862"/>
                        <a:pt x="133" y="862"/>
                      </a:cubicBezTo>
                      <a:cubicBezTo>
                        <a:pt x="199" y="862"/>
                        <a:pt x="199" y="862"/>
                        <a:pt x="199" y="862"/>
                      </a:cubicBezTo>
                      <a:cubicBezTo>
                        <a:pt x="197" y="728"/>
                        <a:pt x="197" y="728"/>
                        <a:pt x="197" y="728"/>
                      </a:cubicBezTo>
                      <a:cubicBezTo>
                        <a:pt x="190" y="297"/>
                        <a:pt x="190" y="297"/>
                        <a:pt x="190" y="297"/>
                      </a:cubicBezTo>
                      <a:cubicBezTo>
                        <a:pt x="193" y="294"/>
                        <a:pt x="195" y="290"/>
                        <a:pt x="195" y="285"/>
                      </a:cubicBezTo>
                      <a:cubicBezTo>
                        <a:pt x="195" y="271"/>
                        <a:pt x="195" y="271"/>
                        <a:pt x="195" y="271"/>
                      </a:cubicBezTo>
                      <a:cubicBezTo>
                        <a:pt x="204" y="270"/>
                        <a:pt x="204" y="270"/>
                        <a:pt x="204" y="270"/>
                      </a:cubicBezTo>
                      <a:cubicBezTo>
                        <a:pt x="204" y="271"/>
                        <a:pt x="204" y="271"/>
                        <a:pt x="204" y="271"/>
                      </a:cubicBezTo>
                      <a:cubicBezTo>
                        <a:pt x="206" y="272"/>
                        <a:pt x="208" y="272"/>
                        <a:pt x="210" y="273"/>
                      </a:cubicBezTo>
                      <a:cubicBezTo>
                        <a:pt x="211" y="274"/>
                        <a:pt x="213" y="275"/>
                        <a:pt x="214" y="275"/>
                      </a:cubicBezTo>
                      <a:cubicBezTo>
                        <a:pt x="218" y="278"/>
                        <a:pt x="224" y="281"/>
                        <a:pt x="230" y="281"/>
                      </a:cubicBezTo>
                      <a:cubicBezTo>
                        <a:pt x="233" y="282"/>
                        <a:pt x="236" y="282"/>
                        <a:pt x="239" y="282"/>
                      </a:cubicBezTo>
                      <a:cubicBezTo>
                        <a:pt x="243" y="282"/>
                        <a:pt x="246" y="282"/>
                        <a:pt x="249" y="282"/>
                      </a:cubicBezTo>
                      <a:cubicBezTo>
                        <a:pt x="256" y="281"/>
                        <a:pt x="423" y="272"/>
                        <a:pt x="462" y="265"/>
                      </a:cubicBezTo>
                      <a:cubicBezTo>
                        <a:pt x="463" y="264"/>
                        <a:pt x="463" y="264"/>
                        <a:pt x="463" y="264"/>
                      </a:cubicBezTo>
                      <a:cubicBezTo>
                        <a:pt x="464" y="264"/>
                        <a:pt x="464" y="264"/>
                        <a:pt x="464" y="264"/>
                      </a:cubicBezTo>
                      <a:cubicBezTo>
                        <a:pt x="467" y="263"/>
                        <a:pt x="470" y="260"/>
                        <a:pt x="471" y="255"/>
                      </a:cubicBezTo>
                      <a:cubicBezTo>
                        <a:pt x="473" y="250"/>
                        <a:pt x="471" y="245"/>
                        <a:pt x="466" y="239"/>
                      </a:cubicBezTo>
                      <a:close/>
                    </a:path>
                  </a:pathLst>
                </a:custGeom>
                <a:solidFill>
                  <a:srgbClr val="3195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1" name="Freeform 56">
                  <a:extLst>
                    <a:ext uri="{FF2B5EF4-FFF2-40B4-BE49-F238E27FC236}">
                      <a16:creationId xmlns:a16="http://schemas.microsoft.com/office/drawing/2014/main" id="{D28846EA-2C8A-412F-A7F7-34DCA83C6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5501" y="655639"/>
                  <a:ext cx="354013" cy="646113"/>
                </a:xfrm>
                <a:custGeom>
                  <a:avLst/>
                  <a:gdLst>
                    <a:gd name="T0" fmla="*/ 2147483646 w 292"/>
                    <a:gd name="T1" fmla="*/ 2147483646 h 533"/>
                    <a:gd name="T2" fmla="*/ 2147483646 w 292"/>
                    <a:gd name="T3" fmla="*/ 2147483646 h 533"/>
                    <a:gd name="T4" fmla="*/ 2147483646 w 292"/>
                    <a:gd name="T5" fmla="*/ 2147483646 h 533"/>
                    <a:gd name="T6" fmla="*/ 2147483646 w 292"/>
                    <a:gd name="T7" fmla="*/ 2147483646 h 533"/>
                    <a:gd name="T8" fmla="*/ 2147483646 w 292"/>
                    <a:gd name="T9" fmla="*/ 2147483646 h 533"/>
                    <a:gd name="T10" fmla="*/ 2147483646 w 292"/>
                    <a:gd name="T11" fmla="*/ 2147483646 h 533"/>
                    <a:gd name="T12" fmla="*/ 2147483646 w 292"/>
                    <a:gd name="T13" fmla="*/ 2147483646 h 533"/>
                    <a:gd name="T14" fmla="*/ 2147483646 w 292"/>
                    <a:gd name="T15" fmla="*/ 2147483646 h 533"/>
                    <a:gd name="T16" fmla="*/ 2147483646 w 292"/>
                    <a:gd name="T17" fmla="*/ 2147483646 h 533"/>
                    <a:gd name="T18" fmla="*/ 2147483646 w 292"/>
                    <a:gd name="T19" fmla="*/ 2147483646 h 533"/>
                    <a:gd name="T20" fmla="*/ 2147483646 w 292"/>
                    <a:gd name="T21" fmla="*/ 2147483646 h 533"/>
                    <a:gd name="T22" fmla="*/ 2147483646 w 292"/>
                    <a:gd name="T23" fmla="*/ 2147483646 h 533"/>
                    <a:gd name="T24" fmla="*/ 2147483646 w 292"/>
                    <a:gd name="T25" fmla="*/ 2147483646 h 533"/>
                    <a:gd name="T26" fmla="*/ 2147483646 w 292"/>
                    <a:gd name="T27" fmla="*/ 2147483646 h 533"/>
                    <a:gd name="T28" fmla="*/ 2147483646 w 292"/>
                    <a:gd name="T29" fmla="*/ 2147483646 h 533"/>
                    <a:gd name="T30" fmla="*/ 2147483646 w 292"/>
                    <a:gd name="T31" fmla="*/ 2147483646 h 533"/>
                    <a:gd name="T32" fmla="*/ 2147483646 w 292"/>
                    <a:gd name="T33" fmla="*/ 2147483646 h 533"/>
                    <a:gd name="T34" fmla="*/ 2147483646 w 292"/>
                    <a:gd name="T35" fmla="*/ 2147483646 h 533"/>
                    <a:gd name="T36" fmla="*/ 2147483646 w 292"/>
                    <a:gd name="T37" fmla="*/ 2147483646 h 533"/>
                    <a:gd name="T38" fmla="*/ 2147483646 w 292"/>
                    <a:gd name="T39" fmla="*/ 2147483646 h 533"/>
                    <a:gd name="T40" fmla="*/ 2147483646 w 292"/>
                    <a:gd name="T41" fmla="*/ 2147483646 h 533"/>
                    <a:gd name="T42" fmla="*/ 2147483646 w 292"/>
                    <a:gd name="T43" fmla="*/ 0 h 533"/>
                    <a:gd name="T44" fmla="*/ 2147483646 w 292"/>
                    <a:gd name="T45" fmla="*/ 2147483646 h 533"/>
                    <a:gd name="T46" fmla="*/ 0 w 292"/>
                    <a:gd name="T47" fmla="*/ 2147483646 h 533"/>
                    <a:gd name="T48" fmla="*/ 2147483646 w 292"/>
                    <a:gd name="T49" fmla="*/ 2147483646 h 533"/>
                    <a:gd name="T50" fmla="*/ 2147483646 w 292"/>
                    <a:gd name="T51" fmla="*/ 2147483646 h 533"/>
                    <a:gd name="T52" fmla="*/ 2147483646 w 292"/>
                    <a:gd name="T53" fmla="*/ 2147483646 h 533"/>
                    <a:gd name="T54" fmla="*/ 2147483646 w 292"/>
                    <a:gd name="T55" fmla="*/ 2147483646 h 533"/>
                    <a:gd name="T56" fmla="*/ 2147483646 w 292"/>
                    <a:gd name="T57" fmla="*/ 2147483646 h 533"/>
                    <a:gd name="T58" fmla="*/ 2147483646 w 292"/>
                    <a:gd name="T59" fmla="*/ 2147483646 h 533"/>
                    <a:gd name="T60" fmla="*/ 2147483646 w 292"/>
                    <a:gd name="T61" fmla="*/ 2147483646 h 533"/>
                    <a:gd name="T62" fmla="*/ 2147483646 w 292"/>
                    <a:gd name="T63" fmla="*/ 2147483646 h 533"/>
                    <a:gd name="T64" fmla="*/ 2147483646 w 292"/>
                    <a:gd name="T65" fmla="*/ 2147483646 h 533"/>
                    <a:gd name="T66" fmla="*/ 2147483646 w 292"/>
                    <a:gd name="T67" fmla="*/ 2147483646 h 533"/>
                    <a:gd name="T68" fmla="*/ 2147483646 w 292"/>
                    <a:gd name="T69" fmla="*/ 2147483646 h 533"/>
                    <a:gd name="T70" fmla="*/ 2147483646 w 292"/>
                    <a:gd name="T71" fmla="*/ 2147483646 h 533"/>
                    <a:gd name="T72" fmla="*/ 2147483646 w 292"/>
                    <a:gd name="T73" fmla="*/ 2147483646 h 533"/>
                    <a:gd name="T74" fmla="*/ 2147483646 w 292"/>
                    <a:gd name="T75" fmla="*/ 2147483646 h 533"/>
                    <a:gd name="T76" fmla="*/ 2147483646 w 292"/>
                    <a:gd name="T77" fmla="*/ 2147483646 h 533"/>
                    <a:gd name="T78" fmla="*/ 2147483646 w 292"/>
                    <a:gd name="T79" fmla="*/ 2147483646 h 533"/>
                    <a:gd name="T80" fmla="*/ 2147483646 w 292"/>
                    <a:gd name="T81" fmla="*/ 2147483646 h 533"/>
                    <a:gd name="T82" fmla="*/ 2147483646 w 292"/>
                    <a:gd name="T83" fmla="*/ 2147483646 h 533"/>
                    <a:gd name="T84" fmla="*/ 2147483646 w 292"/>
                    <a:gd name="T85" fmla="*/ 2147483646 h 533"/>
                    <a:gd name="T86" fmla="*/ 2147483646 w 292"/>
                    <a:gd name="T87" fmla="*/ 2147483646 h 533"/>
                    <a:gd name="T88" fmla="*/ 2147483646 w 292"/>
                    <a:gd name="T89" fmla="*/ 2147483646 h 533"/>
                    <a:gd name="T90" fmla="*/ 2147483646 w 292"/>
                    <a:gd name="T91" fmla="*/ 2147483646 h 533"/>
                    <a:gd name="T92" fmla="*/ 2147483646 w 292"/>
                    <a:gd name="T93" fmla="*/ 2147483646 h 533"/>
                    <a:gd name="T94" fmla="*/ 2147483646 w 292"/>
                    <a:gd name="T95" fmla="*/ 2147483646 h 533"/>
                    <a:gd name="T96" fmla="*/ 2147483646 w 292"/>
                    <a:gd name="T97" fmla="*/ 2147483646 h 533"/>
                    <a:gd name="T98" fmla="*/ 2147483646 w 292"/>
                    <a:gd name="T99" fmla="*/ 2147483646 h 533"/>
                    <a:gd name="T100" fmla="*/ 2147483646 w 292"/>
                    <a:gd name="T101" fmla="*/ 2147483646 h 533"/>
                    <a:gd name="T102" fmla="*/ 2147483646 w 292"/>
                    <a:gd name="T103" fmla="*/ 2147483646 h 533"/>
                    <a:gd name="T104" fmla="*/ 2147483646 w 292"/>
                    <a:gd name="T105" fmla="*/ 2147483646 h 533"/>
                    <a:gd name="T106" fmla="*/ 2147483646 w 292"/>
                    <a:gd name="T107" fmla="*/ 2147483646 h 533"/>
                    <a:gd name="T108" fmla="*/ 2147483646 w 292"/>
                    <a:gd name="T109" fmla="*/ 2147483646 h 533"/>
                    <a:gd name="T110" fmla="*/ 2147483646 w 292"/>
                    <a:gd name="T111" fmla="*/ 2147483646 h 533"/>
                    <a:gd name="T112" fmla="*/ 2147483646 w 292"/>
                    <a:gd name="T113" fmla="*/ 2147483646 h 533"/>
                    <a:gd name="T114" fmla="*/ 2147483646 w 292"/>
                    <a:gd name="T115" fmla="*/ 2147483646 h 533"/>
                    <a:gd name="T116" fmla="*/ 2147483646 w 292"/>
                    <a:gd name="T117" fmla="*/ 2147483646 h 533"/>
                    <a:gd name="T118" fmla="*/ 2147483646 w 292"/>
                    <a:gd name="T119" fmla="*/ 2147483646 h 533"/>
                    <a:gd name="T120" fmla="*/ 2147483646 w 292"/>
                    <a:gd name="T121" fmla="*/ 2147483646 h 533"/>
                    <a:gd name="T122" fmla="*/ 2147483646 w 292"/>
                    <a:gd name="T123" fmla="*/ 2147483646 h 533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0" t="0" r="r" b="b"/>
                  <a:pathLst>
                    <a:path w="292" h="533">
                      <a:moveTo>
                        <a:pt x="288" y="148"/>
                      </a:moveTo>
                      <a:cubicBezTo>
                        <a:pt x="286" y="146"/>
                        <a:pt x="286" y="146"/>
                        <a:pt x="286" y="146"/>
                      </a:cubicBezTo>
                      <a:cubicBezTo>
                        <a:pt x="283" y="146"/>
                        <a:pt x="283" y="146"/>
                        <a:pt x="283" y="146"/>
                      </a:cubicBezTo>
                      <a:cubicBezTo>
                        <a:pt x="282" y="146"/>
                        <a:pt x="168" y="144"/>
                        <a:pt x="127" y="144"/>
                      </a:cubicBezTo>
                      <a:cubicBezTo>
                        <a:pt x="124" y="144"/>
                        <a:pt x="122" y="144"/>
                        <a:pt x="120" y="144"/>
                      </a:cubicBezTo>
                      <a:cubicBezTo>
                        <a:pt x="117" y="144"/>
                        <a:pt x="117" y="144"/>
                        <a:pt x="117" y="144"/>
                      </a:cubicBezTo>
                      <a:cubicBezTo>
                        <a:pt x="117" y="144"/>
                        <a:pt x="117" y="144"/>
                        <a:pt x="117" y="144"/>
                      </a:cubicBezTo>
                      <a:cubicBezTo>
                        <a:pt x="114" y="142"/>
                        <a:pt x="111" y="140"/>
                        <a:pt x="108" y="139"/>
                      </a:cubicBezTo>
                      <a:cubicBezTo>
                        <a:pt x="105" y="135"/>
                        <a:pt x="105" y="135"/>
                        <a:pt x="105" y="135"/>
                      </a:cubicBezTo>
                      <a:cubicBezTo>
                        <a:pt x="105" y="135"/>
                        <a:pt x="105" y="135"/>
                        <a:pt x="105" y="135"/>
                      </a:cubicBezTo>
                      <a:cubicBezTo>
                        <a:pt x="104" y="133"/>
                        <a:pt x="104" y="132"/>
                        <a:pt x="104" y="131"/>
                      </a:cubicBezTo>
                      <a:cubicBezTo>
                        <a:pt x="104" y="130"/>
                        <a:pt x="104" y="129"/>
                        <a:pt x="104" y="128"/>
                      </a:cubicBezTo>
                      <a:cubicBezTo>
                        <a:pt x="103" y="125"/>
                        <a:pt x="103" y="121"/>
                        <a:pt x="101" y="118"/>
                      </a:cubicBezTo>
                      <a:cubicBezTo>
                        <a:pt x="100" y="114"/>
                        <a:pt x="97" y="111"/>
                        <a:pt x="95" y="108"/>
                      </a:cubicBezTo>
                      <a:cubicBezTo>
                        <a:pt x="95" y="108"/>
                        <a:pt x="95" y="108"/>
                        <a:pt x="95" y="108"/>
                      </a:cubicBezTo>
                      <a:cubicBezTo>
                        <a:pt x="94" y="107"/>
                        <a:pt x="94" y="105"/>
                        <a:pt x="92" y="104"/>
                      </a:cubicBezTo>
                      <a:cubicBezTo>
                        <a:pt x="91" y="101"/>
                        <a:pt x="88" y="98"/>
                        <a:pt x="85" y="94"/>
                      </a:cubicBezTo>
                      <a:cubicBezTo>
                        <a:pt x="79" y="86"/>
                        <a:pt x="71" y="74"/>
                        <a:pt x="62" y="62"/>
                      </a:cubicBezTo>
                      <a:cubicBezTo>
                        <a:pt x="38" y="30"/>
                        <a:pt x="22" y="10"/>
                        <a:pt x="15" y="2"/>
                      </a:cubicBezTo>
                      <a:cubicBezTo>
                        <a:pt x="15" y="2"/>
                        <a:pt x="15" y="2"/>
                        <a:pt x="15" y="2"/>
                      </a:cubicBezTo>
                      <a:cubicBezTo>
                        <a:pt x="14" y="2"/>
                        <a:pt x="14" y="2"/>
                        <a:pt x="14" y="2"/>
                      </a:cubicBezTo>
                      <a:cubicBezTo>
                        <a:pt x="14" y="1"/>
                        <a:pt x="12" y="0"/>
                        <a:pt x="10" y="0"/>
                      </a:cubicBezTo>
                      <a:cubicBezTo>
                        <a:pt x="7" y="0"/>
                        <a:pt x="3" y="1"/>
                        <a:pt x="1" y="9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2" y="15"/>
                        <a:pt x="66" y="119"/>
                        <a:pt x="86" y="150"/>
                      </a:cubicBezTo>
                      <a:cubicBezTo>
                        <a:pt x="85" y="152"/>
                        <a:pt x="85" y="155"/>
                        <a:pt x="85" y="157"/>
                      </a:cubicBezTo>
                      <a:cubicBezTo>
                        <a:pt x="85" y="160"/>
                        <a:pt x="85" y="163"/>
                        <a:pt x="86" y="165"/>
                      </a:cubicBezTo>
                      <a:cubicBezTo>
                        <a:pt x="85" y="167"/>
                        <a:pt x="85" y="167"/>
                        <a:pt x="85" y="167"/>
                      </a:cubicBezTo>
                      <a:cubicBezTo>
                        <a:pt x="85" y="168"/>
                        <a:pt x="85" y="168"/>
                        <a:pt x="85" y="168"/>
                      </a:cubicBezTo>
                      <a:cubicBezTo>
                        <a:pt x="84" y="168"/>
                        <a:pt x="83" y="169"/>
                        <a:pt x="82" y="170"/>
                      </a:cubicBezTo>
                      <a:cubicBezTo>
                        <a:pt x="81" y="170"/>
                        <a:pt x="80" y="171"/>
                        <a:pt x="80" y="171"/>
                      </a:cubicBezTo>
                      <a:cubicBezTo>
                        <a:pt x="77" y="173"/>
                        <a:pt x="74" y="175"/>
                        <a:pt x="71" y="178"/>
                      </a:cubicBezTo>
                      <a:cubicBezTo>
                        <a:pt x="69" y="181"/>
                        <a:pt x="67" y="185"/>
                        <a:pt x="65" y="188"/>
                      </a:cubicBezTo>
                      <a:cubicBezTo>
                        <a:pt x="63" y="192"/>
                        <a:pt x="17" y="284"/>
                        <a:pt x="9" y="308"/>
                      </a:cubicBezTo>
                      <a:cubicBezTo>
                        <a:pt x="9" y="308"/>
                        <a:pt x="9" y="308"/>
                        <a:pt x="9" y="308"/>
                      </a:cubicBezTo>
                      <a:cubicBezTo>
                        <a:pt x="9" y="308"/>
                        <a:pt x="9" y="308"/>
                        <a:pt x="9" y="308"/>
                      </a:cubicBezTo>
                      <a:cubicBezTo>
                        <a:pt x="8" y="311"/>
                        <a:pt x="9" y="313"/>
                        <a:pt x="10" y="315"/>
                      </a:cubicBezTo>
                      <a:cubicBezTo>
                        <a:pt x="12" y="316"/>
                        <a:pt x="14" y="318"/>
                        <a:pt x="18" y="318"/>
                      </a:cubicBezTo>
                      <a:cubicBezTo>
                        <a:pt x="19" y="318"/>
                        <a:pt x="20" y="318"/>
                        <a:pt x="21" y="317"/>
                      </a:cubicBezTo>
                      <a:cubicBezTo>
                        <a:pt x="24" y="317"/>
                        <a:pt x="24" y="317"/>
                        <a:pt x="24" y="317"/>
                      </a:cubicBezTo>
                      <a:cubicBezTo>
                        <a:pt x="26" y="314"/>
                        <a:pt x="26" y="314"/>
                        <a:pt x="26" y="314"/>
                      </a:cubicBezTo>
                      <a:cubicBezTo>
                        <a:pt x="26" y="314"/>
                        <a:pt x="62" y="254"/>
                        <a:pt x="87" y="210"/>
                      </a:cubicBezTo>
                      <a:cubicBezTo>
                        <a:pt x="84" y="399"/>
                        <a:pt x="84" y="399"/>
                        <a:pt x="84" y="399"/>
                      </a:cubicBezTo>
                      <a:cubicBezTo>
                        <a:pt x="82" y="533"/>
                        <a:pt x="82" y="533"/>
                        <a:pt x="82" y="533"/>
                      </a:cubicBezTo>
                      <a:cubicBezTo>
                        <a:pt x="123" y="533"/>
                        <a:pt x="123" y="533"/>
                        <a:pt x="123" y="533"/>
                      </a:cubicBezTo>
                      <a:cubicBezTo>
                        <a:pt x="121" y="399"/>
                        <a:pt x="121" y="399"/>
                        <a:pt x="121" y="399"/>
                      </a:cubicBezTo>
                      <a:cubicBezTo>
                        <a:pt x="117" y="183"/>
                        <a:pt x="117" y="183"/>
                        <a:pt x="117" y="183"/>
                      </a:cubicBezTo>
                      <a:cubicBezTo>
                        <a:pt x="119" y="182"/>
                        <a:pt x="120" y="179"/>
                        <a:pt x="120" y="176"/>
                      </a:cubicBezTo>
                      <a:cubicBezTo>
                        <a:pt x="120" y="168"/>
                        <a:pt x="120" y="168"/>
                        <a:pt x="120" y="168"/>
                      </a:cubicBezTo>
                      <a:cubicBezTo>
                        <a:pt x="126" y="167"/>
                        <a:pt x="126" y="167"/>
                        <a:pt x="126" y="167"/>
                      </a:cubicBezTo>
                      <a:cubicBezTo>
                        <a:pt x="126" y="167"/>
                        <a:pt x="126" y="167"/>
                        <a:pt x="126" y="167"/>
                      </a:cubicBezTo>
                      <a:cubicBezTo>
                        <a:pt x="127" y="168"/>
                        <a:pt x="128" y="169"/>
                        <a:pt x="130" y="169"/>
                      </a:cubicBezTo>
                      <a:cubicBezTo>
                        <a:pt x="130" y="169"/>
                        <a:pt x="131" y="170"/>
                        <a:pt x="132" y="170"/>
                      </a:cubicBezTo>
                      <a:cubicBezTo>
                        <a:pt x="135" y="172"/>
                        <a:pt x="138" y="174"/>
                        <a:pt x="142" y="174"/>
                      </a:cubicBezTo>
                      <a:cubicBezTo>
                        <a:pt x="144" y="174"/>
                        <a:pt x="146" y="174"/>
                        <a:pt x="148" y="174"/>
                      </a:cubicBezTo>
                      <a:cubicBezTo>
                        <a:pt x="150" y="174"/>
                        <a:pt x="152" y="174"/>
                        <a:pt x="154" y="174"/>
                      </a:cubicBezTo>
                      <a:cubicBezTo>
                        <a:pt x="158" y="174"/>
                        <a:pt x="262" y="169"/>
                        <a:pt x="286" y="164"/>
                      </a:cubicBezTo>
                      <a:cubicBezTo>
                        <a:pt x="286" y="164"/>
                        <a:pt x="286" y="164"/>
                        <a:pt x="286" y="164"/>
                      </a:cubicBezTo>
                      <a:cubicBezTo>
                        <a:pt x="286" y="163"/>
                        <a:pt x="286" y="163"/>
                        <a:pt x="286" y="163"/>
                      </a:cubicBezTo>
                      <a:cubicBezTo>
                        <a:pt x="288" y="163"/>
                        <a:pt x="291" y="161"/>
                        <a:pt x="291" y="158"/>
                      </a:cubicBezTo>
                      <a:cubicBezTo>
                        <a:pt x="292" y="155"/>
                        <a:pt x="291" y="151"/>
                        <a:pt x="288" y="148"/>
                      </a:cubicBezTo>
                      <a:close/>
                    </a:path>
                  </a:pathLst>
                </a:custGeom>
                <a:solidFill>
                  <a:srgbClr val="3195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66" name="Group 522">
                <a:extLst>
                  <a:ext uri="{FF2B5EF4-FFF2-40B4-BE49-F238E27FC236}">
                    <a16:creationId xmlns:a16="http://schemas.microsoft.com/office/drawing/2014/main" id="{1E413A01-F199-4A0A-BE29-27E2DC4AA62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56783" y="2434307"/>
                <a:ext cx="1839064" cy="1006765"/>
                <a:chOff x="1302" y="1775"/>
                <a:chExt cx="1929" cy="1056"/>
              </a:xfrm>
            </p:grpSpPr>
            <p:sp>
              <p:nvSpPr>
                <p:cNvPr id="467" name="Freeform 523">
                  <a:extLst>
                    <a:ext uri="{FF2B5EF4-FFF2-40B4-BE49-F238E27FC236}">
                      <a16:creationId xmlns:a16="http://schemas.microsoft.com/office/drawing/2014/main" id="{F2DC0B4C-52BC-44B4-8202-1D5CD14C4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3" y="2063"/>
                  <a:ext cx="396" cy="547"/>
                </a:xfrm>
                <a:custGeom>
                  <a:avLst/>
                  <a:gdLst>
                    <a:gd name="T0" fmla="*/ 396 w 396"/>
                    <a:gd name="T1" fmla="*/ 64 h 547"/>
                    <a:gd name="T2" fmla="*/ 204 w 396"/>
                    <a:gd name="T3" fmla="*/ 0 h 547"/>
                    <a:gd name="T4" fmla="*/ 0 w 396"/>
                    <a:gd name="T5" fmla="*/ 547 h 547"/>
                    <a:gd name="T6" fmla="*/ 396 w 396"/>
                    <a:gd name="T7" fmla="*/ 547 h 547"/>
                    <a:gd name="T8" fmla="*/ 396 w 396"/>
                    <a:gd name="T9" fmla="*/ 64 h 5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96" h="547">
                      <a:moveTo>
                        <a:pt x="396" y="64"/>
                      </a:moveTo>
                      <a:lnTo>
                        <a:pt x="204" y="0"/>
                      </a:lnTo>
                      <a:lnTo>
                        <a:pt x="0" y="547"/>
                      </a:lnTo>
                      <a:lnTo>
                        <a:pt x="396" y="547"/>
                      </a:lnTo>
                      <a:lnTo>
                        <a:pt x="396" y="64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68" name="Freeform 524">
                  <a:extLst>
                    <a:ext uri="{FF2B5EF4-FFF2-40B4-BE49-F238E27FC236}">
                      <a16:creationId xmlns:a16="http://schemas.microsoft.com/office/drawing/2014/main" id="{09DEE308-B362-449B-A8C1-70A008D58F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2" y="2063"/>
                  <a:ext cx="315" cy="547"/>
                </a:xfrm>
                <a:custGeom>
                  <a:avLst/>
                  <a:gdLst>
                    <a:gd name="T0" fmla="*/ 315 w 315"/>
                    <a:gd name="T1" fmla="*/ 0 h 547"/>
                    <a:gd name="T2" fmla="*/ 199 w 315"/>
                    <a:gd name="T3" fmla="*/ 14 h 547"/>
                    <a:gd name="T4" fmla="*/ 0 w 315"/>
                    <a:gd name="T5" fmla="*/ 547 h 547"/>
                    <a:gd name="T6" fmla="*/ 111 w 315"/>
                    <a:gd name="T7" fmla="*/ 547 h 547"/>
                    <a:gd name="T8" fmla="*/ 315 w 315"/>
                    <a:gd name="T9" fmla="*/ 0 h 5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5" h="547">
                      <a:moveTo>
                        <a:pt x="315" y="0"/>
                      </a:moveTo>
                      <a:lnTo>
                        <a:pt x="199" y="14"/>
                      </a:lnTo>
                      <a:lnTo>
                        <a:pt x="0" y="547"/>
                      </a:lnTo>
                      <a:lnTo>
                        <a:pt x="111" y="547"/>
                      </a:lnTo>
                      <a:lnTo>
                        <a:pt x="315" y="0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69" name="Freeform 525">
                  <a:extLst>
                    <a:ext uri="{FF2B5EF4-FFF2-40B4-BE49-F238E27FC236}">
                      <a16:creationId xmlns:a16="http://schemas.microsoft.com/office/drawing/2014/main" id="{D5F051EC-42DC-4EBC-9633-F8DD28C116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7" y="1775"/>
                  <a:ext cx="1249" cy="305"/>
                </a:xfrm>
                <a:custGeom>
                  <a:avLst/>
                  <a:gdLst>
                    <a:gd name="T0" fmla="*/ 0 w 1249"/>
                    <a:gd name="T1" fmla="*/ 250 h 305"/>
                    <a:gd name="T2" fmla="*/ 0 w 1249"/>
                    <a:gd name="T3" fmla="*/ 305 h 305"/>
                    <a:gd name="T4" fmla="*/ 1249 w 1249"/>
                    <a:gd name="T5" fmla="*/ 74 h 305"/>
                    <a:gd name="T6" fmla="*/ 1249 w 1249"/>
                    <a:gd name="T7" fmla="*/ 0 h 305"/>
                    <a:gd name="T8" fmla="*/ 0 w 1249"/>
                    <a:gd name="T9" fmla="*/ 250 h 3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249" h="305">
                      <a:moveTo>
                        <a:pt x="0" y="250"/>
                      </a:moveTo>
                      <a:lnTo>
                        <a:pt x="0" y="305"/>
                      </a:lnTo>
                      <a:lnTo>
                        <a:pt x="1249" y="74"/>
                      </a:lnTo>
                      <a:lnTo>
                        <a:pt x="1249" y="0"/>
                      </a:lnTo>
                      <a:lnTo>
                        <a:pt x="0" y="250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0" name="Freeform 526">
                  <a:extLst>
                    <a:ext uri="{FF2B5EF4-FFF2-40B4-BE49-F238E27FC236}">
                      <a16:creationId xmlns:a16="http://schemas.microsoft.com/office/drawing/2014/main" id="{9EDD6F38-1B1D-40D9-A01A-3686FF803E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7" y="1849"/>
                  <a:ext cx="1313" cy="266"/>
                </a:xfrm>
                <a:custGeom>
                  <a:avLst/>
                  <a:gdLst>
                    <a:gd name="T0" fmla="*/ 0 w 1313"/>
                    <a:gd name="T1" fmla="*/ 231 h 266"/>
                    <a:gd name="T2" fmla="*/ 102 w 1313"/>
                    <a:gd name="T3" fmla="*/ 266 h 266"/>
                    <a:gd name="T4" fmla="*/ 1313 w 1313"/>
                    <a:gd name="T5" fmla="*/ 45 h 266"/>
                    <a:gd name="T6" fmla="*/ 1249 w 1313"/>
                    <a:gd name="T7" fmla="*/ 0 h 266"/>
                    <a:gd name="T8" fmla="*/ 0 w 1313"/>
                    <a:gd name="T9" fmla="*/ 231 h 2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13" h="266">
                      <a:moveTo>
                        <a:pt x="0" y="231"/>
                      </a:moveTo>
                      <a:lnTo>
                        <a:pt x="102" y="266"/>
                      </a:lnTo>
                      <a:lnTo>
                        <a:pt x="1313" y="45"/>
                      </a:lnTo>
                      <a:lnTo>
                        <a:pt x="1249" y="0"/>
                      </a:lnTo>
                      <a:lnTo>
                        <a:pt x="0" y="231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1" name="Freeform 527">
                  <a:extLst>
                    <a:ext uri="{FF2B5EF4-FFF2-40B4-BE49-F238E27FC236}">
                      <a16:creationId xmlns:a16="http://schemas.microsoft.com/office/drawing/2014/main" id="{12FFF305-59BB-4B89-9E07-AEF846F3F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7" y="2091"/>
                  <a:ext cx="30" cy="229"/>
                </a:xfrm>
                <a:custGeom>
                  <a:avLst/>
                  <a:gdLst>
                    <a:gd name="T0" fmla="*/ 30 w 30"/>
                    <a:gd name="T1" fmla="*/ 12 h 229"/>
                    <a:gd name="T2" fmla="*/ 0 w 30"/>
                    <a:gd name="T3" fmla="*/ 0 h 229"/>
                    <a:gd name="T4" fmla="*/ 0 w 30"/>
                    <a:gd name="T5" fmla="*/ 229 h 229"/>
                    <a:gd name="T6" fmla="*/ 30 w 30"/>
                    <a:gd name="T7" fmla="*/ 229 h 229"/>
                    <a:gd name="T8" fmla="*/ 30 w 30"/>
                    <a:gd name="T9" fmla="*/ 12 h 2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" h="229">
                      <a:moveTo>
                        <a:pt x="30" y="12"/>
                      </a:moveTo>
                      <a:lnTo>
                        <a:pt x="0" y="0"/>
                      </a:lnTo>
                      <a:lnTo>
                        <a:pt x="0" y="229"/>
                      </a:lnTo>
                      <a:lnTo>
                        <a:pt x="30" y="229"/>
                      </a:lnTo>
                      <a:lnTo>
                        <a:pt x="30" y="12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2" name="Freeform 528">
                  <a:extLst>
                    <a:ext uri="{FF2B5EF4-FFF2-40B4-BE49-F238E27FC236}">
                      <a16:creationId xmlns:a16="http://schemas.microsoft.com/office/drawing/2014/main" id="{0C19D505-1E83-48F7-A9CB-43B37967A3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8" y="2091"/>
                  <a:ext cx="19" cy="229"/>
                </a:xfrm>
                <a:custGeom>
                  <a:avLst/>
                  <a:gdLst>
                    <a:gd name="T0" fmla="*/ 19 w 19"/>
                    <a:gd name="T1" fmla="*/ 229 h 229"/>
                    <a:gd name="T2" fmla="*/ 0 w 19"/>
                    <a:gd name="T3" fmla="*/ 229 h 229"/>
                    <a:gd name="T4" fmla="*/ 0 w 19"/>
                    <a:gd name="T5" fmla="*/ 3 h 229"/>
                    <a:gd name="T6" fmla="*/ 19 w 19"/>
                    <a:gd name="T7" fmla="*/ 0 h 229"/>
                    <a:gd name="T8" fmla="*/ 19 w 19"/>
                    <a:gd name="T9" fmla="*/ 229 h 2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29">
                      <a:moveTo>
                        <a:pt x="19" y="229"/>
                      </a:moveTo>
                      <a:lnTo>
                        <a:pt x="0" y="229"/>
                      </a:lnTo>
                      <a:lnTo>
                        <a:pt x="0" y="3"/>
                      </a:lnTo>
                      <a:lnTo>
                        <a:pt x="19" y="0"/>
                      </a:lnTo>
                      <a:lnTo>
                        <a:pt x="19" y="229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3" name="Freeform 529">
                  <a:extLst>
                    <a:ext uri="{FF2B5EF4-FFF2-40B4-BE49-F238E27FC236}">
                      <a16:creationId xmlns:a16="http://schemas.microsoft.com/office/drawing/2014/main" id="{0F949EE6-D3DD-42F0-94AB-0C77EDE95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7" y="2070"/>
                  <a:ext cx="31" cy="236"/>
                </a:xfrm>
                <a:custGeom>
                  <a:avLst/>
                  <a:gdLst>
                    <a:gd name="T0" fmla="*/ 31 w 31"/>
                    <a:gd name="T1" fmla="*/ 12 h 236"/>
                    <a:gd name="T2" fmla="*/ 0 w 31"/>
                    <a:gd name="T3" fmla="*/ 0 h 236"/>
                    <a:gd name="T4" fmla="*/ 0 w 31"/>
                    <a:gd name="T5" fmla="*/ 236 h 236"/>
                    <a:gd name="T6" fmla="*/ 31 w 31"/>
                    <a:gd name="T7" fmla="*/ 236 h 236"/>
                    <a:gd name="T8" fmla="*/ 31 w 31"/>
                    <a:gd name="T9" fmla="*/ 12 h 23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236">
                      <a:moveTo>
                        <a:pt x="31" y="12"/>
                      </a:moveTo>
                      <a:lnTo>
                        <a:pt x="0" y="0"/>
                      </a:lnTo>
                      <a:lnTo>
                        <a:pt x="0" y="236"/>
                      </a:lnTo>
                      <a:lnTo>
                        <a:pt x="31" y="236"/>
                      </a:lnTo>
                      <a:lnTo>
                        <a:pt x="31" y="12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4" name="Freeform 530">
                  <a:extLst>
                    <a:ext uri="{FF2B5EF4-FFF2-40B4-BE49-F238E27FC236}">
                      <a16:creationId xmlns:a16="http://schemas.microsoft.com/office/drawing/2014/main" id="{F5AD0468-BC18-41AA-90D0-7B1E12FE45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8" y="2070"/>
                  <a:ext cx="19" cy="236"/>
                </a:xfrm>
                <a:custGeom>
                  <a:avLst/>
                  <a:gdLst>
                    <a:gd name="T0" fmla="*/ 19 w 19"/>
                    <a:gd name="T1" fmla="*/ 236 h 236"/>
                    <a:gd name="T2" fmla="*/ 0 w 19"/>
                    <a:gd name="T3" fmla="*/ 236 h 236"/>
                    <a:gd name="T4" fmla="*/ 0 w 19"/>
                    <a:gd name="T5" fmla="*/ 2 h 236"/>
                    <a:gd name="T6" fmla="*/ 19 w 19"/>
                    <a:gd name="T7" fmla="*/ 0 h 236"/>
                    <a:gd name="T8" fmla="*/ 19 w 19"/>
                    <a:gd name="T9" fmla="*/ 236 h 23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36">
                      <a:moveTo>
                        <a:pt x="19" y="236"/>
                      </a:moveTo>
                      <a:lnTo>
                        <a:pt x="0" y="236"/>
                      </a:lnTo>
                      <a:lnTo>
                        <a:pt x="0" y="2"/>
                      </a:lnTo>
                      <a:lnTo>
                        <a:pt x="19" y="0"/>
                      </a:lnTo>
                      <a:lnTo>
                        <a:pt x="19" y="236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5" name="Freeform 531">
                  <a:extLst>
                    <a:ext uri="{FF2B5EF4-FFF2-40B4-BE49-F238E27FC236}">
                      <a16:creationId xmlns:a16="http://schemas.microsoft.com/office/drawing/2014/main" id="{8D4FBFF7-F669-4AE7-AEE7-4BF311A0C3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0" y="2044"/>
                  <a:ext cx="31" cy="247"/>
                </a:xfrm>
                <a:custGeom>
                  <a:avLst/>
                  <a:gdLst>
                    <a:gd name="T0" fmla="*/ 31 w 31"/>
                    <a:gd name="T1" fmla="*/ 12 h 247"/>
                    <a:gd name="T2" fmla="*/ 0 w 31"/>
                    <a:gd name="T3" fmla="*/ 0 h 247"/>
                    <a:gd name="T4" fmla="*/ 0 w 31"/>
                    <a:gd name="T5" fmla="*/ 247 h 247"/>
                    <a:gd name="T6" fmla="*/ 31 w 31"/>
                    <a:gd name="T7" fmla="*/ 247 h 247"/>
                    <a:gd name="T8" fmla="*/ 31 w 31"/>
                    <a:gd name="T9" fmla="*/ 12 h 2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247">
                      <a:moveTo>
                        <a:pt x="31" y="12"/>
                      </a:moveTo>
                      <a:lnTo>
                        <a:pt x="0" y="0"/>
                      </a:lnTo>
                      <a:lnTo>
                        <a:pt x="0" y="247"/>
                      </a:lnTo>
                      <a:lnTo>
                        <a:pt x="31" y="247"/>
                      </a:lnTo>
                      <a:lnTo>
                        <a:pt x="31" y="12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6" name="Freeform 532">
                  <a:extLst>
                    <a:ext uri="{FF2B5EF4-FFF2-40B4-BE49-F238E27FC236}">
                      <a16:creationId xmlns:a16="http://schemas.microsoft.com/office/drawing/2014/main" id="{1A6A5517-1333-49A2-979A-103A25E60D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" y="2044"/>
                  <a:ext cx="19" cy="247"/>
                </a:xfrm>
                <a:custGeom>
                  <a:avLst/>
                  <a:gdLst>
                    <a:gd name="T0" fmla="*/ 19 w 19"/>
                    <a:gd name="T1" fmla="*/ 247 h 247"/>
                    <a:gd name="T2" fmla="*/ 0 w 19"/>
                    <a:gd name="T3" fmla="*/ 247 h 247"/>
                    <a:gd name="T4" fmla="*/ 0 w 19"/>
                    <a:gd name="T5" fmla="*/ 5 h 247"/>
                    <a:gd name="T6" fmla="*/ 19 w 19"/>
                    <a:gd name="T7" fmla="*/ 0 h 247"/>
                    <a:gd name="T8" fmla="*/ 19 w 19"/>
                    <a:gd name="T9" fmla="*/ 247 h 2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47">
                      <a:moveTo>
                        <a:pt x="19" y="247"/>
                      </a:moveTo>
                      <a:lnTo>
                        <a:pt x="0" y="247"/>
                      </a:lnTo>
                      <a:lnTo>
                        <a:pt x="0" y="5"/>
                      </a:lnTo>
                      <a:lnTo>
                        <a:pt x="19" y="0"/>
                      </a:lnTo>
                      <a:lnTo>
                        <a:pt x="19" y="247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7" name="Freeform 533">
                  <a:extLst>
                    <a:ext uri="{FF2B5EF4-FFF2-40B4-BE49-F238E27FC236}">
                      <a16:creationId xmlns:a16="http://schemas.microsoft.com/office/drawing/2014/main" id="{898AC04B-4B6C-4287-B289-F12D0999DF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" y="2020"/>
                  <a:ext cx="31" cy="262"/>
                </a:xfrm>
                <a:custGeom>
                  <a:avLst/>
                  <a:gdLst>
                    <a:gd name="T0" fmla="*/ 31 w 31"/>
                    <a:gd name="T1" fmla="*/ 12 h 262"/>
                    <a:gd name="T2" fmla="*/ 0 w 31"/>
                    <a:gd name="T3" fmla="*/ 0 h 262"/>
                    <a:gd name="T4" fmla="*/ 0 w 31"/>
                    <a:gd name="T5" fmla="*/ 262 h 262"/>
                    <a:gd name="T6" fmla="*/ 31 w 31"/>
                    <a:gd name="T7" fmla="*/ 262 h 262"/>
                    <a:gd name="T8" fmla="*/ 31 w 31"/>
                    <a:gd name="T9" fmla="*/ 12 h 26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262">
                      <a:moveTo>
                        <a:pt x="31" y="12"/>
                      </a:moveTo>
                      <a:lnTo>
                        <a:pt x="0" y="0"/>
                      </a:lnTo>
                      <a:lnTo>
                        <a:pt x="0" y="262"/>
                      </a:lnTo>
                      <a:lnTo>
                        <a:pt x="31" y="262"/>
                      </a:lnTo>
                      <a:lnTo>
                        <a:pt x="31" y="12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8" name="Freeform 534">
                  <a:extLst>
                    <a:ext uri="{FF2B5EF4-FFF2-40B4-BE49-F238E27FC236}">
                      <a16:creationId xmlns:a16="http://schemas.microsoft.com/office/drawing/2014/main" id="{84A0B750-77B6-468C-A624-FD09243616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1" y="2020"/>
                  <a:ext cx="19" cy="262"/>
                </a:xfrm>
                <a:custGeom>
                  <a:avLst/>
                  <a:gdLst>
                    <a:gd name="T0" fmla="*/ 19 w 19"/>
                    <a:gd name="T1" fmla="*/ 262 h 262"/>
                    <a:gd name="T2" fmla="*/ 0 w 19"/>
                    <a:gd name="T3" fmla="*/ 262 h 262"/>
                    <a:gd name="T4" fmla="*/ 0 w 19"/>
                    <a:gd name="T5" fmla="*/ 2 h 262"/>
                    <a:gd name="T6" fmla="*/ 19 w 19"/>
                    <a:gd name="T7" fmla="*/ 0 h 262"/>
                    <a:gd name="T8" fmla="*/ 19 w 19"/>
                    <a:gd name="T9" fmla="*/ 262 h 26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62">
                      <a:moveTo>
                        <a:pt x="19" y="262"/>
                      </a:moveTo>
                      <a:lnTo>
                        <a:pt x="0" y="262"/>
                      </a:lnTo>
                      <a:lnTo>
                        <a:pt x="0" y="2"/>
                      </a:lnTo>
                      <a:lnTo>
                        <a:pt x="19" y="0"/>
                      </a:lnTo>
                      <a:lnTo>
                        <a:pt x="19" y="262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79" name="Freeform 535">
                  <a:extLst>
                    <a:ext uri="{FF2B5EF4-FFF2-40B4-BE49-F238E27FC236}">
                      <a16:creationId xmlns:a16="http://schemas.microsoft.com/office/drawing/2014/main" id="{1DCC70D2-BBC9-4787-A33D-5A6084D2A4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992"/>
                  <a:ext cx="30" cy="278"/>
                </a:xfrm>
                <a:custGeom>
                  <a:avLst/>
                  <a:gdLst>
                    <a:gd name="T0" fmla="*/ 30 w 30"/>
                    <a:gd name="T1" fmla="*/ 11 h 278"/>
                    <a:gd name="T2" fmla="*/ 0 w 30"/>
                    <a:gd name="T3" fmla="*/ 0 h 278"/>
                    <a:gd name="T4" fmla="*/ 0 w 30"/>
                    <a:gd name="T5" fmla="*/ 278 h 278"/>
                    <a:gd name="T6" fmla="*/ 30 w 30"/>
                    <a:gd name="T7" fmla="*/ 278 h 278"/>
                    <a:gd name="T8" fmla="*/ 30 w 30"/>
                    <a:gd name="T9" fmla="*/ 11 h 2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" h="278">
                      <a:moveTo>
                        <a:pt x="30" y="11"/>
                      </a:moveTo>
                      <a:lnTo>
                        <a:pt x="0" y="0"/>
                      </a:lnTo>
                      <a:lnTo>
                        <a:pt x="0" y="278"/>
                      </a:lnTo>
                      <a:lnTo>
                        <a:pt x="30" y="278"/>
                      </a:lnTo>
                      <a:lnTo>
                        <a:pt x="30" y="11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80" name="Freeform 536">
                  <a:extLst>
                    <a:ext uri="{FF2B5EF4-FFF2-40B4-BE49-F238E27FC236}">
                      <a16:creationId xmlns:a16="http://schemas.microsoft.com/office/drawing/2014/main" id="{B88AB3F7-15C8-42E3-8798-D86F7D3FCF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3" y="1992"/>
                  <a:ext cx="19" cy="278"/>
                </a:xfrm>
                <a:custGeom>
                  <a:avLst/>
                  <a:gdLst>
                    <a:gd name="T0" fmla="*/ 19 w 19"/>
                    <a:gd name="T1" fmla="*/ 278 h 278"/>
                    <a:gd name="T2" fmla="*/ 0 w 19"/>
                    <a:gd name="T3" fmla="*/ 278 h 278"/>
                    <a:gd name="T4" fmla="*/ 0 w 19"/>
                    <a:gd name="T5" fmla="*/ 2 h 278"/>
                    <a:gd name="T6" fmla="*/ 19 w 19"/>
                    <a:gd name="T7" fmla="*/ 0 h 278"/>
                    <a:gd name="T8" fmla="*/ 19 w 19"/>
                    <a:gd name="T9" fmla="*/ 278 h 2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78">
                      <a:moveTo>
                        <a:pt x="19" y="278"/>
                      </a:moveTo>
                      <a:lnTo>
                        <a:pt x="0" y="278"/>
                      </a:lnTo>
                      <a:lnTo>
                        <a:pt x="0" y="2"/>
                      </a:lnTo>
                      <a:lnTo>
                        <a:pt x="19" y="0"/>
                      </a:lnTo>
                      <a:lnTo>
                        <a:pt x="19" y="278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81" name="Freeform 537">
                  <a:extLst>
                    <a:ext uri="{FF2B5EF4-FFF2-40B4-BE49-F238E27FC236}">
                      <a16:creationId xmlns:a16="http://schemas.microsoft.com/office/drawing/2014/main" id="{C17337CB-FE92-4D43-A244-AEEF5F6C1C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2" y="1961"/>
                  <a:ext cx="31" cy="290"/>
                </a:xfrm>
                <a:custGeom>
                  <a:avLst/>
                  <a:gdLst>
                    <a:gd name="T0" fmla="*/ 31 w 31"/>
                    <a:gd name="T1" fmla="*/ 11 h 290"/>
                    <a:gd name="T2" fmla="*/ 0 w 31"/>
                    <a:gd name="T3" fmla="*/ 0 h 290"/>
                    <a:gd name="T4" fmla="*/ 0 w 31"/>
                    <a:gd name="T5" fmla="*/ 290 h 290"/>
                    <a:gd name="T6" fmla="*/ 31 w 31"/>
                    <a:gd name="T7" fmla="*/ 290 h 290"/>
                    <a:gd name="T8" fmla="*/ 31 w 31"/>
                    <a:gd name="T9" fmla="*/ 11 h 2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290">
                      <a:moveTo>
                        <a:pt x="31" y="11"/>
                      </a:moveTo>
                      <a:lnTo>
                        <a:pt x="0" y="0"/>
                      </a:lnTo>
                      <a:lnTo>
                        <a:pt x="0" y="290"/>
                      </a:lnTo>
                      <a:lnTo>
                        <a:pt x="31" y="290"/>
                      </a:lnTo>
                      <a:lnTo>
                        <a:pt x="31" y="11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83" name="Freeform 538">
                  <a:extLst>
                    <a:ext uri="{FF2B5EF4-FFF2-40B4-BE49-F238E27FC236}">
                      <a16:creationId xmlns:a16="http://schemas.microsoft.com/office/drawing/2014/main" id="{F38F73F2-0DFA-4C55-AE47-69E49AD9F5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3" y="1961"/>
                  <a:ext cx="19" cy="290"/>
                </a:xfrm>
                <a:custGeom>
                  <a:avLst/>
                  <a:gdLst>
                    <a:gd name="T0" fmla="*/ 19 w 19"/>
                    <a:gd name="T1" fmla="*/ 290 h 290"/>
                    <a:gd name="T2" fmla="*/ 0 w 19"/>
                    <a:gd name="T3" fmla="*/ 290 h 290"/>
                    <a:gd name="T4" fmla="*/ 0 w 19"/>
                    <a:gd name="T5" fmla="*/ 2 h 290"/>
                    <a:gd name="T6" fmla="*/ 19 w 19"/>
                    <a:gd name="T7" fmla="*/ 0 h 290"/>
                    <a:gd name="T8" fmla="*/ 19 w 19"/>
                    <a:gd name="T9" fmla="*/ 290 h 2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290">
                      <a:moveTo>
                        <a:pt x="19" y="290"/>
                      </a:moveTo>
                      <a:lnTo>
                        <a:pt x="0" y="290"/>
                      </a:lnTo>
                      <a:lnTo>
                        <a:pt x="0" y="2"/>
                      </a:lnTo>
                      <a:lnTo>
                        <a:pt x="19" y="0"/>
                      </a:lnTo>
                      <a:lnTo>
                        <a:pt x="19" y="290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86" name="Freeform 539">
                  <a:extLst>
                    <a:ext uri="{FF2B5EF4-FFF2-40B4-BE49-F238E27FC236}">
                      <a16:creationId xmlns:a16="http://schemas.microsoft.com/office/drawing/2014/main" id="{F08DDE61-909D-4F64-A37E-0507CD53F1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8" y="1930"/>
                  <a:ext cx="28" cy="302"/>
                </a:xfrm>
                <a:custGeom>
                  <a:avLst/>
                  <a:gdLst>
                    <a:gd name="T0" fmla="*/ 28 w 28"/>
                    <a:gd name="T1" fmla="*/ 12 h 302"/>
                    <a:gd name="T2" fmla="*/ 0 w 28"/>
                    <a:gd name="T3" fmla="*/ 0 h 302"/>
                    <a:gd name="T4" fmla="*/ 0 w 28"/>
                    <a:gd name="T5" fmla="*/ 302 h 302"/>
                    <a:gd name="T6" fmla="*/ 28 w 28"/>
                    <a:gd name="T7" fmla="*/ 302 h 302"/>
                    <a:gd name="T8" fmla="*/ 28 w 28"/>
                    <a:gd name="T9" fmla="*/ 12 h 3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8" h="302">
                      <a:moveTo>
                        <a:pt x="28" y="12"/>
                      </a:moveTo>
                      <a:lnTo>
                        <a:pt x="0" y="0"/>
                      </a:lnTo>
                      <a:lnTo>
                        <a:pt x="0" y="302"/>
                      </a:lnTo>
                      <a:lnTo>
                        <a:pt x="28" y="302"/>
                      </a:lnTo>
                      <a:lnTo>
                        <a:pt x="28" y="12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89" name="Freeform 540">
                  <a:extLst>
                    <a:ext uri="{FF2B5EF4-FFF2-40B4-BE49-F238E27FC236}">
                      <a16:creationId xmlns:a16="http://schemas.microsoft.com/office/drawing/2014/main" id="{51C7475F-3872-471F-AD15-F0E18118EE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6" y="1930"/>
                  <a:ext cx="22" cy="302"/>
                </a:xfrm>
                <a:custGeom>
                  <a:avLst/>
                  <a:gdLst>
                    <a:gd name="T0" fmla="*/ 22 w 22"/>
                    <a:gd name="T1" fmla="*/ 302 h 302"/>
                    <a:gd name="T2" fmla="*/ 0 w 22"/>
                    <a:gd name="T3" fmla="*/ 302 h 302"/>
                    <a:gd name="T4" fmla="*/ 0 w 22"/>
                    <a:gd name="T5" fmla="*/ 2 h 302"/>
                    <a:gd name="T6" fmla="*/ 22 w 22"/>
                    <a:gd name="T7" fmla="*/ 0 h 302"/>
                    <a:gd name="T8" fmla="*/ 22 w 22"/>
                    <a:gd name="T9" fmla="*/ 302 h 3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" h="302">
                      <a:moveTo>
                        <a:pt x="22" y="302"/>
                      </a:moveTo>
                      <a:lnTo>
                        <a:pt x="0" y="302"/>
                      </a:lnTo>
                      <a:lnTo>
                        <a:pt x="0" y="2"/>
                      </a:lnTo>
                      <a:lnTo>
                        <a:pt x="22" y="0"/>
                      </a:lnTo>
                      <a:lnTo>
                        <a:pt x="22" y="302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0" name="Freeform 541">
                  <a:extLst>
                    <a:ext uri="{FF2B5EF4-FFF2-40B4-BE49-F238E27FC236}">
                      <a16:creationId xmlns:a16="http://schemas.microsoft.com/office/drawing/2014/main" id="{96434598-5528-441B-896B-AA8258D337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86" y="1775"/>
                  <a:ext cx="372" cy="947"/>
                </a:xfrm>
                <a:custGeom>
                  <a:avLst/>
                  <a:gdLst>
                    <a:gd name="T0" fmla="*/ 256 w 372"/>
                    <a:gd name="T1" fmla="*/ 947 h 947"/>
                    <a:gd name="T2" fmla="*/ 0 w 372"/>
                    <a:gd name="T3" fmla="*/ 947 h 947"/>
                    <a:gd name="T4" fmla="*/ 230 w 372"/>
                    <a:gd name="T5" fmla="*/ 0 h 947"/>
                    <a:gd name="T6" fmla="*/ 372 w 372"/>
                    <a:gd name="T7" fmla="*/ 0 h 947"/>
                    <a:gd name="T8" fmla="*/ 256 w 372"/>
                    <a:gd name="T9" fmla="*/ 947 h 9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72" h="947">
                      <a:moveTo>
                        <a:pt x="256" y="947"/>
                      </a:moveTo>
                      <a:lnTo>
                        <a:pt x="0" y="947"/>
                      </a:lnTo>
                      <a:lnTo>
                        <a:pt x="230" y="0"/>
                      </a:lnTo>
                      <a:lnTo>
                        <a:pt x="372" y="0"/>
                      </a:lnTo>
                      <a:lnTo>
                        <a:pt x="256" y="947"/>
                      </a:lnTo>
                      <a:close/>
                    </a:path>
                  </a:pathLst>
                </a:custGeom>
                <a:solidFill>
                  <a:srgbClr val="A38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1" name="Freeform 542">
                  <a:extLst>
                    <a:ext uri="{FF2B5EF4-FFF2-40B4-BE49-F238E27FC236}">
                      <a16:creationId xmlns:a16="http://schemas.microsoft.com/office/drawing/2014/main" id="{2774A88A-3675-4BC4-AB04-BE68980A6E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2" y="1775"/>
                  <a:ext cx="289" cy="947"/>
                </a:xfrm>
                <a:custGeom>
                  <a:avLst/>
                  <a:gdLst>
                    <a:gd name="T0" fmla="*/ 116 w 289"/>
                    <a:gd name="T1" fmla="*/ 0 h 947"/>
                    <a:gd name="T2" fmla="*/ 289 w 289"/>
                    <a:gd name="T3" fmla="*/ 0 h 947"/>
                    <a:gd name="T4" fmla="*/ 289 w 289"/>
                    <a:gd name="T5" fmla="*/ 947 h 947"/>
                    <a:gd name="T6" fmla="*/ 0 w 289"/>
                    <a:gd name="T7" fmla="*/ 947 h 947"/>
                    <a:gd name="T8" fmla="*/ 116 w 289"/>
                    <a:gd name="T9" fmla="*/ 0 h 9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89" h="947">
                      <a:moveTo>
                        <a:pt x="116" y="0"/>
                      </a:moveTo>
                      <a:lnTo>
                        <a:pt x="289" y="0"/>
                      </a:lnTo>
                      <a:lnTo>
                        <a:pt x="289" y="947"/>
                      </a:lnTo>
                      <a:lnTo>
                        <a:pt x="0" y="947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8C62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2" name="Freeform 543">
                  <a:extLst>
                    <a:ext uri="{FF2B5EF4-FFF2-40B4-BE49-F238E27FC236}">
                      <a16:creationId xmlns:a16="http://schemas.microsoft.com/office/drawing/2014/main" id="{21C97DC3-0EC1-485E-A25C-7C81157066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7" y="2275"/>
                  <a:ext cx="313" cy="499"/>
                </a:xfrm>
                <a:custGeom>
                  <a:avLst/>
                  <a:gdLst>
                    <a:gd name="T0" fmla="*/ 55576811 w 132"/>
                    <a:gd name="T1" fmla="*/ 1296894 h 210"/>
                    <a:gd name="T2" fmla="*/ 34100240 w 132"/>
                    <a:gd name="T3" fmla="*/ 1296894 h 210"/>
                    <a:gd name="T4" fmla="*/ 22786474 w 132"/>
                    <a:gd name="T5" fmla="*/ 18627929 h 210"/>
                    <a:gd name="T6" fmla="*/ 4265609 w 132"/>
                    <a:gd name="T7" fmla="*/ 73524982 h 210"/>
                    <a:gd name="T8" fmla="*/ 0 w 132"/>
                    <a:gd name="T9" fmla="*/ 70827606 h 210"/>
                    <a:gd name="T10" fmla="*/ 40534752 w 132"/>
                    <a:gd name="T11" fmla="*/ 71669840 h 210"/>
                    <a:gd name="T12" fmla="*/ 55576811 w 132"/>
                    <a:gd name="T13" fmla="*/ 1296894 h 21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2" h="210">
                      <a:moveTo>
                        <a:pt x="132" y="3"/>
                      </a:moveTo>
                      <a:cubicBezTo>
                        <a:pt x="81" y="3"/>
                        <a:pt x="81" y="3"/>
                        <a:pt x="81" y="3"/>
                      </a:cubicBezTo>
                      <a:cubicBezTo>
                        <a:pt x="81" y="3"/>
                        <a:pt x="64" y="0"/>
                        <a:pt x="54" y="43"/>
                      </a:cubicBezTo>
                      <a:cubicBezTo>
                        <a:pt x="44" y="87"/>
                        <a:pt x="30" y="171"/>
                        <a:pt x="10" y="169"/>
                      </a:cubicBezTo>
                      <a:cubicBezTo>
                        <a:pt x="10" y="169"/>
                        <a:pt x="1" y="168"/>
                        <a:pt x="0" y="163"/>
                      </a:cubicBezTo>
                      <a:cubicBezTo>
                        <a:pt x="0" y="163"/>
                        <a:pt x="27" y="210"/>
                        <a:pt x="96" y="165"/>
                      </a:cubicBezTo>
                      <a:cubicBezTo>
                        <a:pt x="96" y="165"/>
                        <a:pt x="112" y="29"/>
                        <a:pt x="132" y="3"/>
                      </a:cubicBezTo>
                      <a:close/>
                    </a:path>
                  </a:pathLst>
                </a:custGeom>
                <a:solidFill>
                  <a:srgbClr val="4D81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3" name="Freeform 544">
                  <a:extLst>
                    <a:ext uri="{FF2B5EF4-FFF2-40B4-BE49-F238E27FC236}">
                      <a16:creationId xmlns:a16="http://schemas.microsoft.com/office/drawing/2014/main" id="{18E256E3-AA8E-4107-A258-060F415C92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6" y="2260"/>
                  <a:ext cx="334" cy="536"/>
                </a:xfrm>
                <a:custGeom>
                  <a:avLst/>
                  <a:gdLst>
                    <a:gd name="T0" fmla="*/ 58490639 w 141"/>
                    <a:gd name="T1" fmla="*/ 1907498 h 225"/>
                    <a:gd name="T2" fmla="*/ 35705619 w 141"/>
                    <a:gd name="T3" fmla="*/ 1907498 h 225"/>
                    <a:gd name="T4" fmla="*/ 24036758 w 141"/>
                    <a:gd name="T5" fmla="*/ 21241675 h 225"/>
                    <a:gd name="T6" fmla="*/ 4217127 w 141"/>
                    <a:gd name="T7" fmla="*/ 81734795 h 225"/>
                    <a:gd name="T8" fmla="*/ 0 w 141"/>
                    <a:gd name="T9" fmla="*/ 79026780 h 225"/>
                    <a:gd name="T10" fmla="*/ 42731278 w 141"/>
                    <a:gd name="T11" fmla="*/ 79968599 h 225"/>
                    <a:gd name="T12" fmla="*/ 58490639 w 141"/>
                    <a:gd name="T13" fmla="*/ 1907498 h 22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1" h="225">
                      <a:moveTo>
                        <a:pt x="141" y="4"/>
                      </a:moveTo>
                      <a:cubicBezTo>
                        <a:pt x="86" y="4"/>
                        <a:pt x="86" y="4"/>
                        <a:pt x="86" y="4"/>
                      </a:cubicBezTo>
                      <a:cubicBezTo>
                        <a:pt x="86" y="4"/>
                        <a:pt x="69" y="0"/>
                        <a:pt x="58" y="47"/>
                      </a:cubicBezTo>
                      <a:cubicBezTo>
                        <a:pt x="47" y="93"/>
                        <a:pt x="32" y="183"/>
                        <a:pt x="10" y="181"/>
                      </a:cubicBezTo>
                      <a:cubicBezTo>
                        <a:pt x="10" y="181"/>
                        <a:pt x="1" y="180"/>
                        <a:pt x="0" y="175"/>
                      </a:cubicBezTo>
                      <a:cubicBezTo>
                        <a:pt x="0" y="175"/>
                        <a:pt x="28" y="225"/>
                        <a:pt x="103" y="177"/>
                      </a:cubicBezTo>
                      <a:cubicBezTo>
                        <a:pt x="103" y="177"/>
                        <a:pt x="120" y="31"/>
                        <a:pt x="141" y="4"/>
                      </a:cubicBezTo>
                      <a:close/>
                    </a:path>
                  </a:pathLst>
                </a:custGeom>
                <a:solidFill>
                  <a:srgbClr val="558CA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4" name="Freeform 545">
                  <a:extLst>
                    <a:ext uri="{FF2B5EF4-FFF2-40B4-BE49-F238E27FC236}">
                      <a16:creationId xmlns:a16="http://schemas.microsoft.com/office/drawing/2014/main" id="{7DDE55EC-4754-4D60-B91F-060BB75F7E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7" y="2248"/>
                  <a:ext cx="353" cy="564"/>
                </a:xfrm>
                <a:custGeom>
                  <a:avLst/>
                  <a:gdLst>
                    <a:gd name="T0" fmla="*/ 61931784 w 149"/>
                    <a:gd name="T1" fmla="*/ 1316647 h 237"/>
                    <a:gd name="T2" fmla="*/ 37927481 w 149"/>
                    <a:gd name="T3" fmla="*/ 1316647 h 237"/>
                    <a:gd name="T4" fmla="*/ 25485221 w 149"/>
                    <a:gd name="T5" fmla="*/ 21831962 h 237"/>
                    <a:gd name="T6" fmla="*/ 4590035 w 149"/>
                    <a:gd name="T7" fmla="*/ 85016801 h 237"/>
                    <a:gd name="T8" fmla="*/ 0 w 149"/>
                    <a:gd name="T9" fmla="*/ 81815589 h 237"/>
                    <a:gd name="T10" fmla="*/ 44896504 w 149"/>
                    <a:gd name="T11" fmla="*/ 82728089 h 237"/>
                    <a:gd name="T12" fmla="*/ 61931784 w 149"/>
                    <a:gd name="T13" fmla="*/ 1316647 h 23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9" h="237">
                      <a:moveTo>
                        <a:pt x="149" y="3"/>
                      </a:move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91" y="3"/>
                        <a:pt x="73" y="0"/>
                        <a:pt x="61" y="49"/>
                      </a:cubicBezTo>
                      <a:cubicBezTo>
                        <a:pt x="50" y="98"/>
                        <a:pt x="34" y="193"/>
                        <a:pt x="11" y="191"/>
                      </a:cubicBezTo>
                      <a:cubicBezTo>
                        <a:pt x="11" y="191"/>
                        <a:pt x="1" y="189"/>
                        <a:pt x="0" y="184"/>
                      </a:cubicBezTo>
                      <a:cubicBezTo>
                        <a:pt x="0" y="184"/>
                        <a:pt x="30" y="237"/>
                        <a:pt x="108" y="186"/>
                      </a:cubicBezTo>
                      <a:cubicBezTo>
                        <a:pt x="108" y="186"/>
                        <a:pt x="127" y="32"/>
                        <a:pt x="149" y="3"/>
                      </a:cubicBezTo>
                      <a:close/>
                    </a:path>
                  </a:pathLst>
                </a:custGeom>
                <a:solidFill>
                  <a:srgbClr val="5B99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5" name="Freeform 546">
                  <a:extLst>
                    <a:ext uri="{FF2B5EF4-FFF2-40B4-BE49-F238E27FC236}">
                      <a16:creationId xmlns:a16="http://schemas.microsoft.com/office/drawing/2014/main" id="{D0154165-448B-491E-ABB3-401291FA8F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7" y="2241"/>
                  <a:ext cx="370" cy="590"/>
                </a:xfrm>
                <a:custGeom>
                  <a:avLst/>
                  <a:gdLst>
                    <a:gd name="T0" fmla="*/ 65977565 w 156"/>
                    <a:gd name="T1" fmla="*/ 1313361 h 248"/>
                    <a:gd name="T2" fmla="*/ 40655695 w 156"/>
                    <a:gd name="T3" fmla="*/ 1313361 h 248"/>
                    <a:gd name="T4" fmla="*/ 27444755 w 156"/>
                    <a:gd name="T5" fmla="*/ 22522398 h 248"/>
                    <a:gd name="T6" fmla="*/ 4969162 w 156"/>
                    <a:gd name="T7" fmla="*/ 87957060 h 248"/>
                    <a:gd name="T8" fmla="*/ 0 w 156"/>
                    <a:gd name="T9" fmla="*/ 85402728 h 248"/>
                    <a:gd name="T10" fmla="*/ 48097332 w 156"/>
                    <a:gd name="T11" fmla="*/ 86312856 h 248"/>
                    <a:gd name="T12" fmla="*/ 65977565 w 156"/>
                    <a:gd name="T13" fmla="*/ 1313361 h 2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56" h="248">
                      <a:moveTo>
                        <a:pt x="156" y="3"/>
                      </a:moveTo>
                      <a:cubicBezTo>
                        <a:pt x="96" y="3"/>
                        <a:pt x="96" y="3"/>
                        <a:pt x="96" y="3"/>
                      </a:cubicBezTo>
                      <a:cubicBezTo>
                        <a:pt x="96" y="3"/>
                        <a:pt x="76" y="0"/>
                        <a:pt x="65" y="51"/>
                      </a:cubicBezTo>
                      <a:cubicBezTo>
                        <a:pt x="53" y="103"/>
                        <a:pt x="36" y="202"/>
                        <a:pt x="12" y="199"/>
                      </a:cubicBezTo>
                      <a:cubicBezTo>
                        <a:pt x="12" y="199"/>
                        <a:pt x="2" y="198"/>
                        <a:pt x="0" y="193"/>
                      </a:cubicBezTo>
                      <a:cubicBezTo>
                        <a:pt x="0" y="193"/>
                        <a:pt x="32" y="248"/>
                        <a:pt x="114" y="195"/>
                      </a:cubicBezTo>
                      <a:cubicBezTo>
                        <a:pt x="114" y="195"/>
                        <a:pt x="133" y="34"/>
                        <a:pt x="156" y="3"/>
                      </a:cubicBezTo>
                      <a:close/>
                    </a:path>
                  </a:pathLst>
                </a:custGeom>
                <a:solidFill>
                  <a:srgbClr val="5DA5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6" name="Freeform 547">
                  <a:extLst>
                    <a:ext uri="{FF2B5EF4-FFF2-40B4-BE49-F238E27FC236}">
                      <a16:creationId xmlns:a16="http://schemas.microsoft.com/office/drawing/2014/main" id="{B728AFAD-963B-471C-9CB9-9B389C7662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0" y="2225"/>
                  <a:ext cx="375" cy="597"/>
                </a:xfrm>
                <a:custGeom>
                  <a:avLst/>
                  <a:gdLst>
                    <a:gd name="T0" fmla="*/ 67486706 w 158"/>
                    <a:gd name="T1" fmla="*/ 1871198 h 251"/>
                    <a:gd name="T2" fmla="*/ 41411618 w 158"/>
                    <a:gd name="T3" fmla="*/ 1871198 h 251"/>
                    <a:gd name="T4" fmla="*/ 27769483 w 158"/>
                    <a:gd name="T5" fmla="*/ 23014973 h 251"/>
                    <a:gd name="T6" fmla="*/ 5018409 w 158"/>
                    <a:gd name="T7" fmla="*/ 89029692 h 251"/>
                    <a:gd name="T8" fmla="*/ 0 w 158"/>
                    <a:gd name="T9" fmla="*/ 86081589 h 251"/>
                    <a:gd name="T10" fmla="*/ 49137560 w 158"/>
                    <a:gd name="T11" fmla="*/ 87002825 h 251"/>
                    <a:gd name="T12" fmla="*/ 67486706 w 158"/>
                    <a:gd name="T13" fmla="*/ 1871198 h 25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58" h="251">
                      <a:moveTo>
                        <a:pt x="158" y="4"/>
                      </a:moveTo>
                      <a:cubicBezTo>
                        <a:pt x="97" y="4"/>
                        <a:pt x="97" y="4"/>
                        <a:pt x="97" y="4"/>
                      </a:cubicBezTo>
                      <a:cubicBezTo>
                        <a:pt x="97" y="4"/>
                        <a:pt x="77" y="0"/>
                        <a:pt x="65" y="52"/>
                      </a:cubicBezTo>
                      <a:cubicBezTo>
                        <a:pt x="53" y="104"/>
                        <a:pt x="36" y="205"/>
                        <a:pt x="12" y="202"/>
                      </a:cubicBezTo>
                      <a:cubicBezTo>
                        <a:pt x="12" y="202"/>
                        <a:pt x="1" y="201"/>
                        <a:pt x="0" y="195"/>
                      </a:cubicBezTo>
                      <a:cubicBezTo>
                        <a:pt x="0" y="195"/>
                        <a:pt x="32" y="251"/>
                        <a:pt x="115" y="197"/>
                      </a:cubicBezTo>
                      <a:cubicBezTo>
                        <a:pt x="115" y="197"/>
                        <a:pt x="134" y="35"/>
                        <a:pt x="158" y="4"/>
                      </a:cubicBezTo>
                      <a:close/>
                    </a:path>
                  </a:pathLst>
                </a:custGeom>
                <a:solidFill>
                  <a:srgbClr val="7DB7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7" name="Freeform 548">
                  <a:extLst>
                    <a:ext uri="{FF2B5EF4-FFF2-40B4-BE49-F238E27FC236}">
                      <a16:creationId xmlns:a16="http://schemas.microsoft.com/office/drawing/2014/main" id="{2693313E-508E-4A60-A109-43FC133A4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2" y="2210"/>
                  <a:ext cx="384" cy="614"/>
                </a:xfrm>
                <a:custGeom>
                  <a:avLst/>
                  <a:gdLst>
                    <a:gd name="T0" fmla="*/ 67867596 w 162"/>
                    <a:gd name="T1" fmla="*/ 1316932 h 258"/>
                    <a:gd name="T2" fmla="*/ 41531890 w 162"/>
                    <a:gd name="T3" fmla="*/ 1316932 h 258"/>
                    <a:gd name="T4" fmla="*/ 28126855 w 162"/>
                    <a:gd name="T5" fmla="*/ 23561626 h 258"/>
                    <a:gd name="T6" fmla="*/ 4911239 w 162"/>
                    <a:gd name="T7" fmla="*/ 92517165 h 258"/>
                    <a:gd name="T8" fmla="*/ 0 w 162"/>
                    <a:gd name="T9" fmla="*/ 89382941 h 258"/>
                    <a:gd name="T10" fmla="*/ 49523854 w 162"/>
                    <a:gd name="T11" fmla="*/ 90227686 h 258"/>
                    <a:gd name="T12" fmla="*/ 67867596 w 162"/>
                    <a:gd name="T13" fmla="*/ 1316932 h 25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62" h="258">
                      <a:moveTo>
                        <a:pt x="162" y="3"/>
                      </a:moveTo>
                      <a:cubicBezTo>
                        <a:pt x="99" y="3"/>
                        <a:pt x="99" y="3"/>
                        <a:pt x="99" y="3"/>
                      </a:cubicBezTo>
                      <a:cubicBezTo>
                        <a:pt x="99" y="3"/>
                        <a:pt x="79" y="0"/>
                        <a:pt x="67" y="53"/>
                      </a:cubicBezTo>
                      <a:cubicBezTo>
                        <a:pt x="54" y="106"/>
                        <a:pt x="37" y="210"/>
                        <a:pt x="12" y="208"/>
                      </a:cubicBezTo>
                      <a:cubicBezTo>
                        <a:pt x="12" y="208"/>
                        <a:pt x="1" y="206"/>
                        <a:pt x="0" y="201"/>
                      </a:cubicBezTo>
                      <a:cubicBezTo>
                        <a:pt x="0" y="201"/>
                        <a:pt x="33" y="258"/>
                        <a:pt x="118" y="203"/>
                      </a:cubicBezTo>
                      <a:cubicBezTo>
                        <a:pt x="118" y="203"/>
                        <a:pt x="138" y="35"/>
                        <a:pt x="162" y="3"/>
                      </a:cubicBezTo>
                      <a:close/>
                    </a:path>
                  </a:pathLst>
                </a:custGeom>
                <a:solidFill>
                  <a:srgbClr val="9EC9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</p:grpSp>
        <p:grpSp>
          <p:nvGrpSpPr>
            <p:cNvPr id="12" name="Group 90">
              <a:extLst>
                <a:ext uri="{FF2B5EF4-FFF2-40B4-BE49-F238E27FC236}">
                  <a16:creationId xmlns:a16="http://schemas.microsoft.com/office/drawing/2014/main" id="{01F8F43E-9002-4F89-AA09-A4CFF78CED1D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8473339" y="2566162"/>
              <a:ext cx="879381" cy="706437"/>
              <a:chOff x="3809" y="1344"/>
              <a:chExt cx="1003" cy="829"/>
            </a:xfrm>
          </p:grpSpPr>
          <p:sp>
            <p:nvSpPr>
              <p:cNvPr id="389" name="Freeform 91">
                <a:extLst>
                  <a:ext uri="{FF2B5EF4-FFF2-40B4-BE49-F238E27FC236}">
                    <a16:creationId xmlns:a16="http://schemas.microsoft.com/office/drawing/2014/main" id="{7FAF4D40-BCE0-4D84-96DD-033C30DD13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4" y="1985"/>
                <a:ext cx="148" cy="173"/>
              </a:xfrm>
              <a:custGeom>
                <a:avLst/>
                <a:gdLst>
                  <a:gd name="T0" fmla="*/ 1 w 295"/>
                  <a:gd name="T1" fmla="*/ 1 h 350"/>
                  <a:gd name="T2" fmla="*/ 1 w 295"/>
                  <a:gd name="T3" fmla="*/ 1 h 350"/>
                  <a:gd name="T4" fmla="*/ 1 w 295"/>
                  <a:gd name="T5" fmla="*/ 1 h 350"/>
                  <a:gd name="T6" fmla="*/ 1 w 295"/>
                  <a:gd name="T7" fmla="*/ 1 h 350"/>
                  <a:gd name="T8" fmla="*/ 1 w 295"/>
                  <a:gd name="T9" fmla="*/ 1 h 350"/>
                  <a:gd name="T10" fmla="*/ 1 w 295"/>
                  <a:gd name="T11" fmla="*/ 1 h 350"/>
                  <a:gd name="T12" fmla="*/ 1 w 295"/>
                  <a:gd name="T13" fmla="*/ 1 h 350"/>
                  <a:gd name="T14" fmla="*/ 1 w 295"/>
                  <a:gd name="T15" fmla="*/ 1 h 350"/>
                  <a:gd name="T16" fmla="*/ 1 w 295"/>
                  <a:gd name="T17" fmla="*/ 1 h 350"/>
                  <a:gd name="T18" fmla="*/ 1 w 295"/>
                  <a:gd name="T19" fmla="*/ 1 h 350"/>
                  <a:gd name="T20" fmla="*/ 1 w 295"/>
                  <a:gd name="T21" fmla="*/ 1 h 350"/>
                  <a:gd name="T22" fmla="*/ 1 w 295"/>
                  <a:gd name="T23" fmla="*/ 1 h 350"/>
                  <a:gd name="T24" fmla="*/ 1 w 295"/>
                  <a:gd name="T25" fmla="*/ 1 h 350"/>
                  <a:gd name="T26" fmla="*/ 1 w 295"/>
                  <a:gd name="T27" fmla="*/ 1 h 350"/>
                  <a:gd name="T28" fmla="*/ 1 w 295"/>
                  <a:gd name="T29" fmla="*/ 1 h 350"/>
                  <a:gd name="T30" fmla="*/ 1 w 295"/>
                  <a:gd name="T31" fmla="*/ 1 h 350"/>
                  <a:gd name="T32" fmla="*/ 1 w 295"/>
                  <a:gd name="T33" fmla="*/ 1 h 350"/>
                  <a:gd name="T34" fmla="*/ 1 w 295"/>
                  <a:gd name="T35" fmla="*/ 1 h 350"/>
                  <a:gd name="T36" fmla="*/ 1 w 295"/>
                  <a:gd name="T37" fmla="*/ 1 h 350"/>
                  <a:gd name="T38" fmla="*/ 1 w 295"/>
                  <a:gd name="T39" fmla="*/ 1 h 350"/>
                  <a:gd name="T40" fmla="*/ 1 w 295"/>
                  <a:gd name="T41" fmla="*/ 1 h 350"/>
                  <a:gd name="T42" fmla="*/ 1 w 295"/>
                  <a:gd name="T43" fmla="*/ 1 h 350"/>
                  <a:gd name="T44" fmla="*/ 1 w 295"/>
                  <a:gd name="T45" fmla="*/ 1 h 350"/>
                  <a:gd name="T46" fmla="*/ 1 w 295"/>
                  <a:gd name="T47" fmla="*/ 1 h 350"/>
                  <a:gd name="T48" fmla="*/ 1 w 295"/>
                  <a:gd name="T49" fmla="*/ 1 h 350"/>
                  <a:gd name="T50" fmla="*/ 1 w 295"/>
                  <a:gd name="T51" fmla="*/ 1 h 350"/>
                  <a:gd name="T52" fmla="*/ 1 w 295"/>
                  <a:gd name="T53" fmla="*/ 1 h 350"/>
                  <a:gd name="T54" fmla="*/ 1 w 295"/>
                  <a:gd name="T55" fmla="*/ 1 h 350"/>
                  <a:gd name="T56" fmla="*/ 1 w 295"/>
                  <a:gd name="T57" fmla="*/ 1 h 350"/>
                  <a:gd name="T58" fmla="*/ 1 w 295"/>
                  <a:gd name="T59" fmla="*/ 1 h 350"/>
                  <a:gd name="T60" fmla="*/ 1 w 295"/>
                  <a:gd name="T61" fmla="*/ 1 h 350"/>
                  <a:gd name="T62" fmla="*/ 1 w 295"/>
                  <a:gd name="T63" fmla="*/ 1 h 350"/>
                  <a:gd name="T64" fmla="*/ 1 w 295"/>
                  <a:gd name="T65" fmla="*/ 1 h 350"/>
                  <a:gd name="T66" fmla="*/ 1 w 295"/>
                  <a:gd name="T67" fmla="*/ 1 h 350"/>
                  <a:gd name="T68" fmla="*/ 1 w 295"/>
                  <a:gd name="T69" fmla="*/ 1 h 350"/>
                  <a:gd name="T70" fmla="*/ 1 w 295"/>
                  <a:gd name="T71" fmla="*/ 1 h 350"/>
                  <a:gd name="T72" fmla="*/ 1 w 295"/>
                  <a:gd name="T73" fmla="*/ 1 h 3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95"/>
                  <a:gd name="T112" fmla="*/ 0 h 350"/>
                  <a:gd name="T113" fmla="*/ 295 w 295"/>
                  <a:gd name="T114" fmla="*/ 350 h 35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95" h="350">
                    <a:moveTo>
                      <a:pt x="295" y="264"/>
                    </a:moveTo>
                    <a:lnTo>
                      <a:pt x="294" y="244"/>
                    </a:lnTo>
                    <a:lnTo>
                      <a:pt x="289" y="226"/>
                    </a:lnTo>
                    <a:lnTo>
                      <a:pt x="282" y="209"/>
                    </a:lnTo>
                    <a:lnTo>
                      <a:pt x="273" y="194"/>
                    </a:lnTo>
                    <a:lnTo>
                      <a:pt x="280" y="182"/>
                    </a:lnTo>
                    <a:lnTo>
                      <a:pt x="285" y="168"/>
                    </a:lnTo>
                    <a:lnTo>
                      <a:pt x="288" y="154"/>
                    </a:lnTo>
                    <a:lnTo>
                      <a:pt x="289" y="139"/>
                    </a:lnTo>
                    <a:lnTo>
                      <a:pt x="287" y="119"/>
                    </a:lnTo>
                    <a:lnTo>
                      <a:pt x="281" y="99"/>
                    </a:lnTo>
                    <a:lnTo>
                      <a:pt x="271" y="82"/>
                    </a:lnTo>
                    <a:lnTo>
                      <a:pt x="258" y="67"/>
                    </a:lnTo>
                    <a:lnTo>
                      <a:pt x="242" y="54"/>
                    </a:lnTo>
                    <a:lnTo>
                      <a:pt x="224" y="45"/>
                    </a:lnTo>
                    <a:lnTo>
                      <a:pt x="203" y="39"/>
                    </a:lnTo>
                    <a:lnTo>
                      <a:pt x="181" y="37"/>
                    </a:lnTo>
                    <a:lnTo>
                      <a:pt x="176" y="37"/>
                    </a:lnTo>
                    <a:lnTo>
                      <a:pt x="172" y="37"/>
                    </a:lnTo>
                    <a:lnTo>
                      <a:pt x="167" y="38"/>
                    </a:lnTo>
                    <a:lnTo>
                      <a:pt x="163" y="38"/>
                    </a:lnTo>
                    <a:lnTo>
                      <a:pt x="158" y="39"/>
                    </a:lnTo>
                    <a:lnTo>
                      <a:pt x="155" y="40"/>
                    </a:lnTo>
                    <a:lnTo>
                      <a:pt x="150" y="43"/>
                    </a:lnTo>
                    <a:lnTo>
                      <a:pt x="145" y="44"/>
                    </a:lnTo>
                    <a:lnTo>
                      <a:pt x="140" y="35"/>
                    </a:lnTo>
                    <a:lnTo>
                      <a:pt x="133" y="25"/>
                    </a:lnTo>
                    <a:lnTo>
                      <a:pt x="126" y="19"/>
                    </a:lnTo>
                    <a:lnTo>
                      <a:pt x="116" y="12"/>
                    </a:lnTo>
                    <a:lnTo>
                      <a:pt x="107" y="7"/>
                    </a:lnTo>
                    <a:lnTo>
                      <a:pt x="98" y="4"/>
                    </a:lnTo>
                    <a:lnTo>
                      <a:pt x="88" y="1"/>
                    </a:lnTo>
                    <a:lnTo>
                      <a:pt x="77" y="0"/>
                    </a:lnTo>
                    <a:lnTo>
                      <a:pt x="61" y="2"/>
                    </a:lnTo>
                    <a:lnTo>
                      <a:pt x="47" y="7"/>
                    </a:lnTo>
                    <a:lnTo>
                      <a:pt x="35" y="15"/>
                    </a:lnTo>
                    <a:lnTo>
                      <a:pt x="23" y="25"/>
                    </a:lnTo>
                    <a:lnTo>
                      <a:pt x="13" y="38"/>
                    </a:lnTo>
                    <a:lnTo>
                      <a:pt x="6" y="53"/>
                    </a:lnTo>
                    <a:lnTo>
                      <a:pt x="1" y="70"/>
                    </a:lnTo>
                    <a:lnTo>
                      <a:pt x="0" y="88"/>
                    </a:lnTo>
                    <a:lnTo>
                      <a:pt x="1" y="106"/>
                    </a:lnTo>
                    <a:lnTo>
                      <a:pt x="6" y="122"/>
                    </a:lnTo>
                    <a:lnTo>
                      <a:pt x="13" y="137"/>
                    </a:lnTo>
                    <a:lnTo>
                      <a:pt x="23" y="151"/>
                    </a:lnTo>
                    <a:lnTo>
                      <a:pt x="35" y="161"/>
                    </a:lnTo>
                    <a:lnTo>
                      <a:pt x="47" y="169"/>
                    </a:lnTo>
                    <a:lnTo>
                      <a:pt x="61" y="174"/>
                    </a:lnTo>
                    <a:lnTo>
                      <a:pt x="77" y="176"/>
                    </a:lnTo>
                    <a:lnTo>
                      <a:pt x="69" y="184"/>
                    </a:lnTo>
                    <a:lnTo>
                      <a:pt x="62" y="195"/>
                    </a:lnTo>
                    <a:lnTo>
                      <a:pt x="57" y="204"/>
                    </a:lnTo>
                    <a:lnTo>
                      <a:pt x="51" y="216"/>
                    </a:lnTo>
                    <a:lnTo>
                      <a:pt x="46" y="227"/>
                    </a:lnTo>
                    <a:lnTo>
                      <a:pt x="43" y="239"/>
                    </a:lnTo>
                    <a:lnTo>
                      <a:pt x="42" y="251"/>
                    </a:lnTo>
                    <a:lnTo>
                      <a:pt x="40" y="264"/>
                    </a:lnTo>
                    <a:lnTo>
                      <a:pt x="42" y="277"/>
                    </a:lnTo>
                    <a:lnTo>
                      <a:pt x="43" y="288"/>
                    </a:lnTo>
                    <a:lnTo>
                      <a:pt x="46" y="300"/>
                    </a:lnTo>
                    <a:lnTo>
                      <a:pt x="51" y="311"/>
                    </a:lnTo>
                    <a:lnTo>
                      <a:pt x="57" y="323"/>
                    </a:lnTo>
                    <a:lnTo>
                      <a:pt x="62" y="332"/>
                    </a:lnTo>
                    <a:lnTo>
                      <a:pt x="69" y="342"/>
                    </a:lnTo>
                    <a:lnTo>
                      <a:pt x="77" y="350"/>
                    </a:lnTo>
                    <a:lnTo>
                      <a:pt x="257" y="350"/>
                    </a:lnTo>
                    <a:lnTo>
                      <a:pt x="265" y="342"/>
                    </a:lnTo>
                    <a:lnTo>
                      <a:pt x="273" y="332"/>
                    </a:lnTo>
                    <a:lnTo>
                      <a:pt x="279" y="323"/>
                    </a:lnTo>
                    <a:lnTo>
                      <a:pt x="285" y="311"/>
                    </a:lnTo>
                    <a:lnTo>
                      <a:pt x="289" y="300"/>
                    </a:lnTo>
                    <a:lnTo>
                      <a:pt x="293" y="288"/>
                    </a:lnTo>
                    <a:lnTo>
                      <a:pt x="294" y="277"/>
                    </a:lnTo>
                    <a:lnTo>
                      <a:pt x="295" y="264"/>
                    </a:lnTo>
                    <a:close/>
                  </a:path>
                </a:pathLst>
              </a:custGeom>
              <a:solidFill>
                <a:srgbClr val="00FF00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0" name="Freeform 92">
                <a:extLst>
                  <a:ext uri="{FF2B5EF4-FFF2-40B4-BE49-F238E27FC236}">
                    <a16:creationId xmlns:a16="http://schemas.microsoft.com/office/drawing/2014/main" id="{0859FCE1-FA2B-425A-BD0E-C77C4AA322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3" y="1974"/>
                <a:ext cx="183" cy="184"/>
              </a:xfrm>
              <a:custGeom>
                <a:avLst/>
                <a:gdLst>
                  <a:gd name="T0" fmla="*/ 1 w 363"/>
                  <a:gd name="T1" fmla="*/ 1 h 370"/>
                  <a:gd name="T2" fmla="*/ 1 w 363"/>
                  <a:gd name="T3" fmla="*/ 1 h 370"/>
                  <a:gd name="T4" fmla="*/ 1 w 363"/>
                  <a:gd name="T5" fmla="*/ 1 h 370"/>
                  <a:gd name="T6" fmla="*/ 1 w 363"/>
                  <a:gd name="T7" fmla="*/ 1 h 370"/>
                  <a:gd name="T8" fmla="*/ 1 w 363"/>
                  <a:gd name="T9" fmla="*/ 1 h 370"/>
                  <a:gd name="T10" fmla="*/ 1 w 363"/>
                  <a:gd name="T11" fmla="*/ 1 h 370"/>
                  <a:gd name="T12" fmla="*/ 1 w 363"/>
                  <a:gd name="T13" fmla="*/ 1 h 370"/>
                  <a:gd name="T14" fmla="*/ 1 w 363"/>
                  <a:gd name="T15" fmla="*/ 1 h 370"/>
                  <a:gd name="T16" fmla="*/ 1 w 363"/>
                  <a:gd name="T17" fmla="*/ 1 h 370"/>
                  <a:gd name="T18" fmla="*/ 1 w 363"/>
                  <a:gd name="T19" fmla="*/ 1 h 370"/>
                  <a:gd name="T20" fmla="*/ 1 w 363"/>
                  <a:gd name="T21" fmla="*/ 1 h 370"/>
                  <a:gd name="T22" fmla="*/ 1 w 363"/>
                  <a:gd name="T23" fmla="*/ 1 h 370"/>
                  <a:gd name="T24" fmla="*/ 1 w 363"/>
                  <a:gd name="T25" fmla="*/ 1 h 370"/>
                  <a:gd name="T26" fmla="*/ 1 w 363"/>
                  <a:gd name="T27" fmla="*/ 1 h 370"/>
                  <a:gd name="T28" fmla="*/ 1 w 363"/>
                  <a:gd name="T29" fmla="*/ 1 h 370"/>
                  <a:gd name="T30" fmla="*/ 1 w 363"/>
                  <a:gd name="T31" fmla="*/ 1 h 370"/>
                  <a:gd name="T32" fmla="*/ 1 w 363"/>
                  <a:gd name="T33" fmla="*/ 1 h 370"/>
                  <a:gd name="T34" fmla="*/ 1 w 363"/>
                  <a:gd name="T35" fmla="*/ 1 h 370"/>
                  <a:gd name="T36" fmla="*/ 1 w 363"/>
                  <a:gd name="T37" fmla="*/ 1 h 370"/>
                  <a:gd name="T38" fmla="*/ 1 w 363"/>
                  <a:gd name="T39" fmla="*/ 1 h 370"/>
                  <a:gd name="T40" fmla="*/ 1 w 363"/>
                  <a:gd name="T41" fmla="*/ 0 h 370"/>
                  <a:gd name="T42" fmla="*/ 1 w 363"/>
                  <a:gd name="T43" fmla="*/ 1 h 370"/>
                  <a:gd name="T44" fmla="*/ 1 w 363"/>
                  <a:gd name="T45" fmla="*/ 1 h 370"/>
                  <a:gd name="T46" fmla="*/ 1 w 363"/>
                  <a:gd name="T47" fmla="*/ 1 h 370"/>
                  <a:gd name="T48" fmla="*/ 1 w 363"/>
                  <a:gd name="T49" fmla="*/ 1 h 370"/>
                  <a:gd name="T50" fmla="*/ 1 w 363"/>
                  <a:gd name="T51" fmla="*/ 1 h 370"/>
                  <a:gd name="T52" fmla="*/ 1 w 363"/>
                  <a:gd name="T53" fmla="*/ 1 h 370"/>
                  <a:gd name="T54" fmla="*/ 1 w 363"/>
                  <a:gd name="T55" fmla="*/ 1 h 370"/>
                  <a:gd name="T56" fmla="*/ 1 w 363"/>
                  <a:gd name="T57" fmla="*/ 1 h 370"/>
                  <a:gd name="T58" fmla="*/ 1 w 363"/>
                  <a:gd name="T59" fmla="*/ 1 h 370"/>
                  <a:gd name="T60" fmla="*/ 1 w 363"/>
                  <a:gd name="T61" fmla="*/ 1 h 370"/>
                  <a:gd name="T62" fmla="*/ 1 w 363"/>
                  <a:gd name="T63" fmla="*/ 1 h 370"/>
                  <a:gd name="T64" fmla="*/ 1 w 363"/>
                  <a:gd name="T65" fmla="*/ 1 h 370"/>
                  <a:gd name="T66" fmla="*/ 1 w 363"/>
                  <a:gd name="T67" fmla="*/ 1 h 370"/>
                  <a:gd name="T68" fmla="*/ 1 w 363"/>
                  <a:gd name="T69" fmla="*/ 1 h 370"/>
                  <a:gd name="T70" fmla="*/ 1 w 363"/>
                  <a:gd name="T71" fmla="*/ 1 h 370"/>
                  <a:gd name="T72" fmla="*/ 1 w 363"/>
                  <a:gd name="T73" fmla="*/ 1 h 370"/>
                  <a:gd name="T74" fmla="*/ 1 w 363"/>
                  <a:gd name="T75" fmla="*/ 1 h 370"/>
                  <a:gd name="T76" fmla="*/ 1 w 363"/>
                  <a:gd name="T77" fmla="*/ 1 h 370"/>
                  <a:gd name="T78" fmla="*/ 1 w 363"/>
                  <a:gd name="T79" fmla="*/ 1 h 370"/>
                  <a:gd name="T80" fmla="*/ 0 w 363"/>
                  <a:gd name="T81" fmla="*/ 1 h 370"/>
                  <a:gd name="T82" fmla="*/ 1 w 363"/>
                  <a:gd name="T83" fmla="*/ 1 h 370"/>
                  <a:gd name="T84" fmla="*/ 1 w 363"/>
                  <a:gd name="T85" fmla="*/ 1 h 370"/>
                  <a:gd name="T86" fmla="*/ 1 w 363"/>
                  <a:gd name="T87" fmla="*/ 1 h 370"/>
                  <a:gd name="T88" fmla="*/ 1 w 363"/>
                  <a:gd name="T89" fmla="*/ 1 h 370"/>
                  <a:gd name="T90" fmla="*/ 1 w 363"/>
                  <a:gd name="T91" fmla="*/ 1 h 370"/>
                  <a:gd name="T92" fmla="*/ 1 w 363"/>
                  <a:gd name="T93" fmla="*/ 1 h 370"/>
                  <a:gd name="T94" fmla="*/ 1 w 363"/>
                  <a:gd name="T95" fmla="*/ 1 h 370"/>
                  <a:gd name="T96" fmla="*/ 1 w 363"/>
                  <a:gd name="T97" fmla="*/ 1 h 370"/>
                  <a:gd name="T98" fmla="*/ 1 w 363"/>
                  <a:gd name="T99" fmla="*/ 1 h 370"/>
                  <a:gd name="T100" fmla="*/ 1 w 363"/>
                  <a:gd name="T101" fmla="*/ 1 h 370"/>
                  <a:gd name="T102" fmla="*/ 1 w 363"/>
                  <a:gd name="T103" fmla="*/ 1 h 370"/>
                  <a:gd name="T104" fmla="*/ 1 w 363"/>
                  <a:gd name="T105" fmla="*/ 1 h 370"/>
                  <a:gd name="T106" fmla="*/ 1 w 363"/>
                  <a:gd name="T107" fmla="*/ 1 h 370"/>
                  <a:gd name="T108" fmla="*/ 1 w 363"/>
                  <a:gd name="T109" fmla="*/ 1 h 370"/>
                  <a:gd name="T110" fmla="*/ 1 w 363"/>
                  <a:gd name="T111" fmla="*/ 1 h 370"/>
                  <a:gd name="T112" fmla="*/ 1 w 363"/>
                  <a:gd name="T113" fmla="*/ 1 h 370"/>
                  <a:gd name="T114" fmla="*/ 1 w 363"/>
                  <a:gd name="T115" fmla="*/ 1 h 37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63"/>
                  <a:gd name="T175" fmla="*/ 0 h 370"/>
                  <a:gd name="T176" fmla="*/ 363 w 363"/>
                  <a:gd name="T177" fmla="*/ 370 h 37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63" h="370">
                    <a:moveTo>
                      <a:pt x="273" y="270"/>
                    </a:moveTo>
                    <a:lnTo>
                      <a:pt x="273" y="267"/>
                    </a:lnTo>
                    <a:lnTo>
                      <a:pt x="273" y="263"/>
                    </a:lnTo>
                    <a:lnTo>
                      <a:pt x="273" y="260"/>
                    </a:lnTo>
                    <a:lnTo>
                      <a:pt x="273" y="256"/>
                    </a:lnTo>
                    <a:lnTo>
                      <a:pt x="292" y="248"/>
                    </a:lnTo>
                    <a:lnTo>
                      <a:pt x="309" y="237"/>
                    </a:lnTo>
                    <a:lnTo>
                      <a:pt x="324" y="224"/>
                    </a:lnTo>
                    <a:lnTo>
                      <a:pt x="338" y="209"/>
                    </a:lnTo>
                    <a:lnTo>
                      <a:pt x="348" y="192"/>
                    </a:lnTo>
                    <a:lnTo>
                      <a:pt x="356" y="173"/>
                    </a:lnTo>
                    <a:lnTo>
                      <a:pt x="361" y="153"/>
                    </a:lnTo>
                    <a:lnTo>
                      <a:pt x="363" y="132"/>
                    </a:lnTo>
                    <a:lnTo>
                      <a:pt x="361" y="105"/>
                    </a:lnTo>
                    <a:lnTo>
                      <a:pt x="353" y="81"/>
                    </a:lnTo>
                    <a:lnTo>
                      <a:pt x="340" y="58"/>
                    </a:lnTo>
                    <a:lnTo>
                      <a:pt x="323" y="39"/>
                    </a:lnTo>
                    <a:lnTo>
                      <a:pt x="303" y="22"/>
                    </a:lnTo>
                    <a:lnTo>
                      <a:pt x="279" y="11"/>
                    </a:lnTo>
                    <a:lnTo>
                      <a:pt x="254" y="3"/>
                    </a:lnTo>
                    <a:lnTo>
                      <a:pt x="226" y="0"/>
                    </a:lnTo>
                    <a:lnTo>
                      <a:pt x="198" y="3"/>
                    </a:lnTo>
                    <a:lnTo>
                      <a:pt x="173" y="11"/>
                    </a:lnTo>
                    <a:lnTo>
                      <a:pt x="150" y="22"/>
                    </a:lnTo>
                    <a:lnTo>
                      <a:pt x="130" y="39"/>
                    </a:lnTo>
                    <a:lnTo>
                      <a:pt x="113" y="58"/>
                    </a:lnTo>
                    <a:lnTo>
                      <a:pt x="100" y="81"/>
                    </a:lnTo>
                    <a:lnTo>
                      <a:pt x="92" y="105"/>
                    </a:lnTo>
                    <a:lnTo>
                      <a:pt x="90" y="132"/>
                    </a:lnTo>
                    <a:lnTo>
                      <a:pt x="90" y="135"/>
                    </a:lnTo>
                    <a:lnTo>
                      <a:pt x="90" y="139"/>
                    </a:lnTo>
                    <a:lnTo>
                      <a:pt x="90" y="143"/>
                    </a:lnTo>
                    <a:lnTo>
                      <a:pt x="90" y="147"/>
                    </a:lnTo>
                    <a:lnTo>
                      <a:pt x="72" y="155"/>
                    </a:lnTo>
                    <a:lnTo>
                      <a:pt x="54" y="165"/>
                    </a:lnTo>
                    <a:lnTo>
                      <a:pt x="39" y="179"/>
                    </a:lnTo>
                    <a:lnTo>
                      <a:pt x="26" y="194"/>
                    </a:lnTo>
                    <a:lnTo>
                      <a:pt x="15" y="211"/>
                    </a:lnTo>
                    <a:lnTo>
                      <a:pt x="7" y="230"/>
                    </a:lnTo>
                    <a:lnTo>
                      <a:pt x="3" y="249"/>
                    </a:lnTo>
                    <a:lnTo>
                      <a:pt x="0" y="270"/>
                    </a:lnTo>
                    <a:lnTo>
                      <a:pt x="1" y="285"/>
                    </a:lnTo>
                    <a:lnTo>
                      <a:pt x="4" y="299"/>
                    </a:lnTo>
                    <a:lnTo>
                      <a:pt x="7" y="313"/>
                    </a:lnTo>
                    <a:lnTo>
                      <a:pt x="13" y="327"/>
                    </a:lnTo>
                    <a:lnTo>
                      <a:pt x="20" y="338"/>
                    </a:lnTo>
                    <a:lnTo>
                      <a:pt x="28" y="350"/>
                    </a:lnTo>
                    <a:lnTo>
                      <a:pt x="37" y="361"/>
                    </a:lnTo>
                    <a:lnTo>
                      <a:pt x="47" y="370"/>
                    </a:lnTo>
                    <a:lnTo>
                      <a:pt x="226" y="370"/>
                    </a:lnTo>
                    <a:lnTo>
                      <a:pt x="236" y="361"/>
                    </a:lnTo>
                    <a:lnTo>
                      <a:pt x="246" y="350"/>
                    </a:lnTo>
                    <a:lnTo>
                      <a:pt x="254" y="338"/>
                    </a:lnTo>
                    <a:lnTo>
                      <a:pt x="261" y="327"/>
                    </a:lnTo>
                    <a:lnTo>
                      <a:pt x="266" y="313"/>
                    </a:lnTo>
                    <a:lnTo>
                      <a:pt x="270" y="299"/>
                    </a:lnTo>
                    <a:lnTo>
                      <a:pt x="272" y="285"/>
                    </a:lnTo>
                    <a:lnTo>
                      <a:pt x="273" y="270"/>
                    </a:lnTo>
                    <a:close/>
                  </a:path>
                </a:pathLst>
              </a:custGeom>
              <a:solidFill>
                <a:srgbClr val="00FF00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1" name="Freeform 93">
                <a:extLst>
                  <a:ext uri="{FF2B5EF4-FFF2-40B4-BE49-F238E27FC236}">
                    <a16:creationId xmlns:a16="http://schemas.microsoft.com/office/drawing/2014/main" id="{1C0C2FDB-9CA7-4F0E-B183-38A04F0598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07" y="1344"/>
                <a:ext cx="808" cy="829"/>
              </a:xfrm>
              <a:custGeom>
                <a:avLst/>
                <a:gdLst>
                  <a:gd name="T0" fmla="*/ 0 w 1617"/>
                  <a:gd name="T1" fmla="*/ 1 h 1658"/>
                  <a:gd name="T2" fmla="*/ 1 w 1617"/>
                  <a:gd name="T3" fmla="*/ 1 h 1658"/>
                  <a:gd name="T4" fmla="*/ 1 w 1617"/>
                  <a:gd name="T5" fmla="*/ 1 h 1658"/>
                  <a:gd name="T6" fmla="*/ 1 w 1617"/>
                  <a:gd name="T7" fmla="*/ 1 h 1658"/>
                  <a:gd name="T8" fmla="*/ 1 w 1617"/>
                  <a:gd name="T9" fmla="*/ 1 h 1658"/>
                  <a:gd name="T10" fmla="*/ 1 w 1617"/>
                  <a:gd name="T11" fmla="*/ 1 h 1658"/>
                  <a:gd name="T12" fmla="*/ 1 w 1617"/>
                  <a:gd name="T13" fmla="*/ 0 h 1658"/>
                  <a:gd name="T14" fmla="*/ 1 w 1617"/>
                  <a:gd name="T15" fmla="*/ 0 h 1658"/>
                  <a:gd name="T16" fmla="*/ 1 w 1617"/>
                  <a:gd name="T17" fmla="*/ 1 h 1658"/>
                  <a:gd name="T18" fmla="*/ 1 w 1617"/>
                  <a:gd name="T19" fmla="*/ 1 h 1658"/>
                  <a:gd name="T20" fmla="*/ 1 w 1617"/>
                  <a:gd name="T21" fmla="*/ 1 h 1658"/>
                  <a:gd name="T22" fmla="*/ 1 w 1617"/>
                  <a:gd name="T23" fmla="*/ 1 h 1658"/>
                  <a:gd name="T24" fmla="*/ 0 w 1617"/>
                  <a:gd name="T25" fmla="*/ 1 h 1658"/>
                  <a:gd name="T26" fmla="*/ 0 w 1617"/>
                  <a:gd name="T27" fmla="*/ 1 h 165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17"/>
                  <a:gd name="T43" fmla="*/ 0 h 1658"/>
                  <a:gd name="T44" fmla="*/ 1617 w 1617"/>
                  <a:gd name="T45" fmla="*/ 1658 h 165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17" h="1658">
                    <a:moveTo>
                      <a:pt x="0" y="1658"/>
                    </a:moveTo>
                    <a:lnTo>
                      <a:pt x="1617" y="1658"/>
                    </a:lnTo>
                    <a:lnTo>
                      <a:pt x="1617" y="952"/>
                    </a:lnTo>
                    <a:lnTo>
                      <a:pt x="1537" y="873"/>
                    </a:lnTo>
                    <a:lnTo>
                      <a:pt x="1337" y="873"/>
                    </a:lnTo>
                    <a:lnTo>
                      <a:pt x="1337" y="80"/>
                    </a:lnTo>
                    <a:lnTo>
                      <a:pt x="1257" y="0"/>
                    </a:lnTo>
                    <a:lnTo>
                      <a:pt x="729" y="0"/>
                    </a:lnTo>
                    <a:lnTo>
                      <a:pt x="729" y="1010"/>
                    </a:lnTo>
                    <a:lnTo>
                      <a:pt x="490" y="1010"/>
                    </a:lnTo>
                    <a:lnTo>
                      <a:pt x="490" y="578"/>
                    </a:lnTo>
                    <a:lnTo>
                      <a:pt x="411" y="501"/>
                    </a:lnTo>
                    <a:lnTo>
                      <a:pt x="0" y="501"/>
                    </a:lnTo>
                    <a:lnTo>
                      <a:pt x="0" y="1658"/>
                    </a:lnTo>
                    <a:close/>
                  </a:path>
                </a:pathLst>
              </a:custGeom>
              <a:solidFill>
                <a:srgbClr val="000000"/>
              </a:solidFill>
              <a:ln w="317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2" name="Rectangle 94">
                <a:extLst>
                  <a:ext uri="{FF2B5EF4-FFF2-40B4-BE49-F238E27FC236}">
                    <a16:creationId xmlns:a16="http://schemas.microsoft.com/office/drawing/2014/main" id="{531CF142-94EF-4CBA-8F18-84FAF9DCA18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30" y="2080"/>
                <a:ext cx="27" cy="73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3" name="Rectangle 95">
                <a:extLst>
                  <a:ext uri="{FF2B5EF4-FFF2-40B4-BE49-F238E27FC236}">
                    <a16:creationId xmlns:a16="http://schemas.microsoft.com/office/drawing/2014/main" id="{C20E223D-CAF2-4A58-904E-FA5622CE2E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30" y="1985"/>
                <a:ext cx="27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4" name="Rectangle 96">
                <a:extLst>
                  <a:ext uri="{FF2B5EF4-FFF2-40B4-BE49-F238E27FC236}">
                    <a16:creationId xmlns:a16="http://schemas.microsoft.com/office/drawing/2014/main" id="{013F846A-1662-4B6A-BB28-49E54DBF67C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30" y="1892"/>
                <a:ext cx="27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5" name="Rectangle 97">
                <a:extLst>
                  <a:ext uri="{FF2B5EF4-FFF2-40B4-BE49-F238E27FC236}">
                    <a16:creationId xmlns:a16="http://schemas.microsoft.com/office/drawing/2014/main" id="{2DF9A177-860E-4F8A-99C0-588B46DB0D8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30" y="1799"/>
                <a:ext cx="27" cy="73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6" name="Rectangle 98">
                <a:extLst>
                  <a:ext uri="{FF2B5EF4-FFF2-40B4-BE49-F238E27FC236}">
                    <a16:creationId xmlns:a16="http://schemas.microsoft.com/office/drawing/2014/main" id="{FF15C1FD-AA34-4030-9CBD-8104AD35107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86" y="2080"/>
                <a:ext cx="24" cy="73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7" name="Rectangle 99">
                <a:extLst>
                  <a:ext uri="{FF2B5EF4-FFF2-40B4-BE49-F238E27FC236}">
                    <a16:creationId xmlns:a16="http://schemas.microsoft.com/office/drawing/2014/main" id="{711A2280-7C79-4C46-8772-0CA0CE612AE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86" y="1985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8" name="Rectangle 100">
                <a:extLst>
                  <a:ext uri="{FF2B5EF4-FFF2-40B4-BE49-F238E27FC236}">
                    <a16:creationId xmlns:a16="http://schemas.microsoft.com/office/drawing/2014/main" id="{AF7C6BE0-5C74-4857-BAF4-BEE54F77DAC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86" y="1892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9" name="Rectangle 101">
                <a:extLst>
                  <a:ext uri="{FF2B5EF4-FFF2-40B4-BE49-F238E27FC236}">
                    <a16:creationId xmlns:a16="http://schemas.microsoft.com/office/drawing/2014/main" id="{B99F5911-AA77-4D96-BE5E-072B6FD14E7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86" y="1799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0" name="Rectangle 102">
                <a:extLst>
                  <a:ext uri="{FF2B5EF4-FFF2-40B4-BE49-F238E27FC236}">
                    <a16:creationId xmlns:a16="http://schemas.microsoft.com/office/drawing/2014/main" id="{A6D30CED-E12A-4CAE-BA14-6D502D76FF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9" y="2080"/>
                <a:ext cx="24" cy="73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1" name="Rectangle 103">
                <a:extLst>
                  <a:ext uri="{FF2B5EF4-FFF2-40B4-BE49-F238E27FC236}">
                    <a16:creationId xmlns:a16="http://schemas.microsoft.com/office/drawing/2014/main" id="{16FDB961-A350-4B57-A8BB-8F8413FC98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9" y="1985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2" name="Rectangle 104">
                <a:extLst>
                  <a:ext uri="{FF2B5EF4-FFF2-40B4-BE49-F238E27FC236}">
                    <a16:creationId xmlns:a16="http://schemas.microsoft.com/office/drawing/2014/main" id="{E2C194CB-FB6F-4317-A702-F851947CEA9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9" y="1892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3" name="Rectangle 105">
                <a:extLst>
                  <a:ext uri="{FF2B5EF4-FFF2-40B4-BE49-F238E27FC236}">
                    <a16:creationId xmlns:a16="http://schemas.microsoft.com/office/drawing/2014/main" id="{E813ED96-94D0-48AE-835B-3FD8A4D9A7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9" y="1799"/>
                <a:ext cx="24" cy="75"/>
              </a:xfrm>
              <a:prstGeom prst="rect">
                <a:avLst/>
              </a:prstGeom>
              <a:solidFill>
                <a:srgbClr val="7FF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4" name="Rectangle 106">
                <a:extLst>
                  <a:ext uri="{FF2B5EF4-FFF2-40B4-BE49-F238E27FC236}">
                    <a16:creationId xmlns:a16="http://schemas.microsoft.com/office/drawing/2014/main" id="{0A149B92-E8A4-45DA-A412-CFD7A9A07F1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2110"/>
                <a:ext cx="230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5" name="Rectangle 107">
                <a:extLst>
                  <a:ext uri="{FF2B5EF4-FFF2-40B4-BE49-F238E27FC236}">
                    <a16:creationId xmlns:a16="http://schemas.microsoft.com/office/drawing/2014/main" id="{0B2A9CC6-C1AC-4B3F-BE3B-1B1B19BE965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204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6" name="Rectangle 108">
                <a:extLst>
                  <a:ext uri="{FF2B5EF4-FFF2-40B4-BE49-F238E27FC236}">
                    <a16:creationId xmlns:a16="http://schemas.microsoft.com/office/drawing/2014/main" id="{7131A932-C805-4F72-898F-2470BE977F9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204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7" name="Rectangle 109">
                <a:extLst>
                  <a:ext uri="{FF2B5EF4-FFF2-40B4-BE49-F238E27FC236}">
                    <a16:creationId xmlns:a16="http://schemas.microsoft.com/office/drawing/2014/main" id="{1725B288-7B3E-419C-9CBD-0ED539B360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204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8" name="Rectangle 110">
                <a:extLst>
                  <a:ext uri="{FF2B5EF4-FFF2-40B4-BE49-F238E27FC236}">
                    <a16:creationId xmlns:a16="http://schemas.microsoft.com/office/drawing/2014/main" id="{5EBC92F3-64D9-419E-B6C6-AF79E579257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2046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9" name="Rectangle 111">
                <a:extLst>
                  <a:ext uri="{FF2B5EF4-FFF2-40B4-BE49-F238E27FC236}">
                    <a16:creationId xmlns:a16="http://schemas.microsoft.com/office/drawing/2014/main" id="{DA87FD61-351C-429A-A94C-003020138C8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985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0" name="Rectangle 112">
                <a:extLst>
                  <a:ext uri="{FF2B5EF4-FFF2-40B4-BE49-F238E27FC236}">
                    <a16:creationId xmlns:a16="http://schemas.microsoft.com/office/drawing/2014/main" id="{08A49240-A6CE-413F-8F0E-F107B0F4090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985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1" name="Rectangle 113">
                <a:extLst>
                  <a:ext uri="{FF2B5EF4-FFF2-40B4-BE49-F238E27FC236}">
                    <a16:creationId xmlns:a16="http://schemas.microsoft.com/office/drawing/2014/main" id="{3571AC01-3213-44CF-AC60-DDF86E1BBB5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985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2" name="Rectangle 114">
                <a:extLst>
                  <a:ext uri="{FF2B5EF4-FFF2-40B4-BE49-F238E27FC236}">
                    <a16:creationId xmlns:a16="http://schemas.microsoft.com/office/drawing/2014/main" id="{510502DD-354E-4222-B8A5-83897EB7CCC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985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3" name="Rectangle 115">
                <a:extLst>
                  <a:ext uri="{FF2B5EF4-FFF2-40B4-BE49-F238E27FC236}">
                    <a16:creationId xmlns:a16="http://schemas.microsoft.com/office/drawing/2014/main" id="{055E15A1-2FAB-47C7-A748-85DCBB0FC64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923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4" name="Rectangle 116">
                <a:extLst>
                  <a:ext uri="{FF2B5EF4-FFF2-40B4-BE49-F238E27FC236}">
                    <a16:creationId xmlns:a16="http://schemas.microsoft.com/office/drawing/2014/main" id="{A3615D9F-4526-4C2E-8AD6-23C4304FC7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923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5" name="Rectangle 117">
                <a:extLst>
                  <a:ext uri="{FF2B5EF4-FFF2-40B4-BE49-F238E27FC236}">
                    <a16:creationId xmlns:a16="http://schemas.microsoft.com/office/drawing/2014/main" id="{6145FE7C-05E5-4B6F-95ED-DF12EFA2734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923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6" name="Rectangle 118">
                <a:extLst>
                  <a:ext uri="{FF2B5EF4-FFF2-40B4-BE49-F238E27FC236}">
                    <a16:creationId xmlns:a16="http://schemas.microsoft.com/office/drawing/2014/main" id="{62742130-CDF1-429D-B98F-6C050993C42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923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7" name="Rectangle 119">
                <a:extLst>
                  <a:ext uri="{FF2B5EF4-FFF2-40B4-BE49-F238E27FC236}">
                    <a16:creationId xmlns:a16="http://schemas.microsoft.com/office/drawing/2014/main" id="{9A176CED-8A6F-4755-A983-76037C01DCB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862"/>
                <a:ext cx="228" cy="41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8" name="Rectangle 120">
                <a:extLst>
                  <a:ext uri="{FF2B5EF4-FFF2-40B4-BE49-F238E27FC236}">
                    <a16:creationId xmlns:a16="http://schemas.microsoft.com/office/drawing/2014/main" id="{491B2540-766F-4D94-BAF2-0CC3919F35E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799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9" name="Rectangle 121">
                <a:extLst>
                  <a:ext uri="{FF2B5EF4-FFF2-40B4-BE49-F238E27FC236}">
                    <a16:creationId xmlns:a16="http://schemas.microsoft.com/office/drawing/2014/main" id="{CB9D4A03-0249-4971-BE8C-50D078E55EE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799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0" name="Rectangle 122">
                <a:extLst>
                  <a:ext uri="{FF2B5EF4-FFF2-40B4-BE49-F238E27FC236}">
                    <a16:creationId xmlns:a16="http://schemas.microsoft.com/office/drawing/2014/main" id="{A17C234D-91CF-4F5C-AE96-E9A63C15BBA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799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1" name="Rectangle 123">
                <a:extLst>
                  <a:ext uri="{FF2B5EF4-FFF2-40B4-BE49-F238E27FC236}">
                    <a16:creationId xmlns:a16="http://schemas.microsoft.com/office/drawing/2014/main" id="{BAD4B923-290A-4112-B7AC-3238B2F086D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799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2" name="Rectangle 124">
                <a:extLst>
                  <a:ext uri="{FF2B5EF4-FFF2-40B4-BE49-F238E27FC236}">
                    <a16:creationId xmlns:a16="http://schemas.microsoft.com/office/drawing/2014/main" id="{8B213E92-ECA2-425A-B332-DA5F50E544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737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3" name="Rectangle 125">
                <a:extLst>
                  <a:ext uri="{FF2B5EF4-FFF2-40B4-BE49-F238E27FC236}">
                    <a16:creationId xmlns:a16="http://schemas.microsoft.com/office/drawing/2014/main" id="{6F1091EB-0BB8-407A-AE66-E553ED8203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737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4" name="Rectangle 126">
                <a:extLst>
                  <a:ext uri="{FF2B5EF4-FFF2-40B4-BE49-F238E27FC236}">
                    <a16:creationId xmlns:a16="http://schemas.microsoft.com/office/drawing/2014/main" id="{19FF0077-100C-4C77-ADD0-7AB374E0C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737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5" name="Rectangle 127">
                <a:extLst>
                  <a:ext uri="{FF2B5EF4-FFF2-40B4-BE49-F238E27FC236}">
                    <a16:creationId xmlns:a16="http://schemas.microsoft.com/office/drawing/2014/main" id="{95087815-3930-404A-8718-1242CC5888F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737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6" name="Rectangle 128">
                <a:extLst>
                  <a:ext uri="{FF2B5EF4-FFF2-40B4-BE49-F238E27FC236}">
                    <a16:creationId xmlns:a16="http://schemas.microsoft.com/office/drawing/2014/main" id="{508BF546-3C12-4C36-9CF4-A3D03461993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67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7" name="Rectangle 129">
                <a:extLst>
                  <a:ext uri="{FF2B5EF4-FFF2-40B4-BE49-F238E27FC236}">
                    <a16:creationId xmlns:a16="http://schemas.microsoft.com/office/drawing/2014/main" id="{FB216E43-B995-42FE-8D47-9275816DD98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676"/>
                <a:ext cx="43" cy="41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8" name="Rectangle 130">
                <a:extLst>
                  <a:ext uri="{FF2B5EF4-FFF2-40B4-BE49-F238E27FC236}">
                    <a16:creationId xmlns:a16="http://schemas.microsoft.com/office/drawing/2014/main" id="{3BA72B87-B830-4DF3-ACA7-06535D4F33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676"/>
                <a:ext cx="42" cy="41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9" name="Rectangle 131">
                <a:extLst>
                  <a:ext uri="{FF2B5EF4-FFF2-40B4-BE49-F238E27FC236}">
                    <a16:creationId xmlns:a16="http://schemas.microsoft.com/office/drawing/2014/main" id="{28F30B33-25DF-461C-8317-CC9149CD225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676"/>
                <a:ext cx="43" cy="41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0" name="Rectangle 132">
                <a:extLst>
                  <a:ext uri="{FF2B5EF4-FFF2-40B4-BE49-F238E27FC236}">
                    <a16:creationId xmlns:a16="http://schemas.microsoft.com/office/drawing/2014/main" id="{BB97D82B-245F-4577-8AB3-03294F9DAF0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612"/>
                <a:ext cx="228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1" name="Rectangle 133">
                <a:extLst>
                  <a:ext uri="{FF2B5EF4-FFF2-40B4-BE49-F238E27FC236}">
                    <a16:creationId xmlns:a16="http://schemas.microsoft.com/office/drawing/2014/main" id="{46B59552-95D6-4C7F-A174-1482DE0F169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551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2" name="Rectangle 134">
                <a:extLst>
                  <a:ext uri="{FF2B5EF4-FFF2-40B4-BE49-F238E27FC236}">
                    <a16:creationId xmlns:a16="http://schemas.microsoft.com/office/drawing/2014/main" id="{ECC19B91-CF4F-4BC0-827A-CA6EA02D956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551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3" name="Rectangle 135">
                <a:extLst>
                  <a:ext uri="{FF2B5EF4-FFF2-40B4-BE49-F238E27FC236}">
                    <a16:creationId xmlns:a16="http://schemas.microsoft.com/office/drawing/2014/main" id="{D964CBC3-0C9A-4C25-8676-97139AB5352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551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4" name="Rectangle 136">
                <a:extLst>
                  <a:ext uri="{FF2B5EF4-FFF2-40B4-BE49-F238E27FC236}">
                    <a16:creationId xmlns:a16="http://schemas.microsoft.com/office/drawing/2014/main" id="{15601493-9A2E-4371-A0CB-2020D3E256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551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5" name="Rectangle 137">
                <a:extLst>
                  <a:ext uri="{FF2B5EF4-FFF2-40B4-BE49-F238E27FC236}">
                    <a16:creationId xmlns:a16="http://schemas.microsoft.com/office/drawing/2014/main" id="{9B8AC6D5-5953-4F3B-B884-3430955F4EE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487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6" name="Rectangle 138">
                <a:extLst>
                  <a:ext uri="{FF2B5EF4-FFF2-40B4-BE49-F238E27FC236}">
                    <a16:creationId xmlns:a16="http://schemas.microsoft.com/office/drawing/2014/main" id="{7A2B90EA-D070-4E08-80FA-9585E9A16EE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487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7" name="Rectangle 139">
                <a:extLst>
                  <a:ext uri="{FF2B5EF4-FFF2-40B4-BE49-F238E27FC236}">
                    <a16:creationId xmlns:a16="http://schemas.microsoft.com/office/drawing/2014/main" id="{09A0C25C-C2CB-4AC9-B575-BEF03CFA244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487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8" name="Rectangle 140">
                <a:extLst>
                  <a:ext uri="{FF2B5EF4-FFF2-40B4-BE49-F238E27FC236}">
                    <a16:creationId xmlns:a16="http://schemas.microsoft.com/office/drawing/2014/main" id="{E8B83963-ADBF-472C-8DF5-0E78A7CBF1A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487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9" name="Rectangle 141">
                <a:extLst>
                  <a:ext uri="{FF2B5EF4-FFF2-40B4-BE49-F238E27FC236}">
                    <a16:creationId xmlns:a16="http://schemas.microsoft.com/office/drawing/2014/main" id="{B7839607-8D73-403D-BACC-A94A33D1E8C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42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0" name="Rectangle 142">
                <a:extLst>
                  <a:ext uri="{FF2B5EF4-FFF2-40B4-BE49-F238E27FC236}">
                    <a16:creationId xmlns:a16="http://schemas.microsoft.com/office/drawing/2014/main" id="{BA729D07-61C8-456F-A8EB-E26AD5A3698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49" y="142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1" name="Rectangle 143">
                <a:extLst>
                  <a:ext uri="{FF2B5EF4-FFF2-40B4-BE49-F238E27FC236}">
                    <a16:creationId xmlns:a16="http://schemas.microsoft.com/office/drawing/2014/main" id="{999EE1F8-8DC5-40B3-9E02-DD88B42F03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14" y="1426"/>
                <a:ext cx="42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2" name="Rectangle 144">
                <a:extLst>
                  <a:ext uri="{FF2B5EF4-FFF2-40B4-BE49-F238E27FC236}">
                    <a16:creationId xmlns:a16="http://schemas.microsoft.com/office/drawing/2014/main" id="{1D79433F-278F-47CD-B299-4A9DAD2F715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74" y="1426"/>
                <a:ext cx="43" cy="43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3" name="Rectangle 145">
                <a:extLst>
                  <a:ext uri="{FF2B5EF4-FFF2-40B4-BE49-F238E27FC236}">
                    <a16:creationId xmlns:a16="http://schemas.microsoft.com/office/drawing/2014/main" id="{975A0A57-CC3C-4E3A-9F25-86191DCF2E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91" y="1364"/>
                <a:ext cx="228" cy="41"/>
              </a:xfrm>
              <a:prstGeom prst="rect">
                <a:avLst/>
              </a:prstGeom>
              <a:solidFill>
                <a:srgbClr val="7F7FFF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4" name="Rectangle 146">
                <a:extLst>
                  <a:ext uri="{FF2B5EF4-FFF2-40B4-BE49-F238E27FC236}">
                    <a16:creationId xmlns:a16="http://schemas.microsoft.com/office/drawing/2014/main" id="{631A3932-F3C5-4DCB-BD0B-63EDF9C1E9A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2123"/>
                <a:ext cx="159" cy="32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5" name="Rectangle 147">
                <a:extLst>
                  <a:ext uri="{FF2B5EF4-FFF2-40B4-BE49-F238E27FC236}">
                    <a16:creationId xmlns:a16="http://schemas.microsoft.com/office/drawing/2014/main" id="{FC3AAC14-BF62-4A97-9FFC-B44DF17EF3D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2072"/>
                <a:ext cx="159" cy="30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6" name="Rectangle 148">
                <a:extLst>
                  <a:ext uri="{FF2B5EF4-FFF2-40B4-BE49-F238E27FC236}">
                    <a16:creationId xmlns:a16="http://schemas.microsoft.com/office/drawing/2014/main" id="{E2F026E4-8FDA-4E5E-A5E1-E2314BC88F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2020"/>
                <a:ext cx="159" cy="34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7" name="Rectangle 149">
                <a:extLst>
                  <a:ext uri="{FF2B5EF4-FFF2-40B4-BE49-F238E27FC236}">
                    <a16:creationId xmlns:a16="http://schemas.microsoft.com/office/drawing/2014/main" id="{DB01C2F4-1664-46E6-8010-5A8A4D0A51E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1972"/>
                <a:ext cx="159" cy="30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8" name="Rectangle 150">
                <a:extLst>
                  <a:ext uri="{FF2B5EF4-FFF2-40B4-BE49-F238E27FC236}">
                    <a16:creationId xmlns:a16="http://schemas.microsoft.com/office/drawing/2014/main" id="{828893AE-36AD-4E2F-824E-369A7BC77E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1922"/>
                <a:ext cx="159" cy="30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9" name="Rectangle 151">
                <a:extLst>
                  <a:ext uri="{FF2B5EF4-FFF2-40B4-BE49-F238E27FC236}">
                    <a16:creationId xmlns:a16="http://schemas.microsoft.com/office/drawing/2014/main" id="{C45CC07B-E08D-40D2-A726-CD6E6C67B7A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12" y="1869"/>
                <a:ext cx="159" cy="32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0" name="Rectangle 152">
                <a:extLst>
                  <a:ext uri="{FF2B5EF4-FFF2-40B4-BE49-F238E27FC236}">
                    <a16:creationId xmlns:a16="http://schemas.microsoft.com/office/drawing/2014/main" id="{D23476F6-391B-4F0D-80B6-CAB20364D95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2080"/>
                <a:ext cx="71" cy="75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1" name="Rectangle 153">
                <a:extLst>
                  <a:ext uri="{FF2B5EF4-FFF2-40B4-BE49-F238E27FC236}">
                    <a16:creationId xmlns:a16="http://schemas.microsoft.com/office/drawing/2014/main" id="{8B55B807-B825-452C-BC5D-D9AE7C385C8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2080"/>
                <a:ext cx="72" cy="75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2" name="Rectangle 154">
                <a:extLst>
                  <a:ext uri="{FF2B5EF4-FFF2-40B4-BE49-F238E27FC236}">
                    <a16:creationId xmlns:a16="http://schemas.microsoft.com/office/drawing/2014/main" id="{A3E29913-CCA9-4BE5-8467-5283FF064A7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1987"/>
                <a:ext cx="71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3" name="Rectangle 155">
                <a:extLst>
                  <a:ext uri="{FF2B5EF4-FFF2-40B4-BE49-F238E27FC236}">
                    <a16:creationId xmlns:a16="http://schemas.microsoft.com/office/drawing/2014/main" id="{6C782EEE-7016-400E-8E03-73D68021F6C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1987"/>
                <a:ext cx="72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4" name="Rectangle 156">
                <a:extLst>
                  <a:ext uri="{FF2B5EF4-FFF2-40B4-BE49-F238E27FC236}">
                    <a16:creationId xmlns:a16="http://schemas.microsoft.com/office/drawing/2014/main" id="{BFA8F779-A384-4EAC-B625-0C9758152C3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1894"/>
                <a:ext cx="71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5" name="Rectangle 157">
                <a:extLst>
                  <a:ext uri="{FF2B5EF4-FFF2-40B4-BE49-F238E27FC236}">
                    <a16:creationId xmlns:a16="http://schemas.microsoft.com/office/drawing/2014/main" id="{83BEE438-D776-449A-AFD1-7EA01BB9971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1894"/>
                <a:ext cx="72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6" name="Rectangle 158">
                <a:extLst>
                  <a:ext uri="{FF2B5EF4-FFF2-40B4-BE49-F238E27FC236}">
                    <a16:creationId xmlns:a16="http://schemas.microsoft.com/office/drawing/2014/main" id="{68ABA845-850D-4D40-A368-09D8883EAFE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1800"/>
                <a:ext cx="71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7" name="Rectangle 159">
                <a:extLst>
                  <a:ext uri="{FF2B5EF4-FFF2-40B4-BE49-F238E27FC236}">
                    <a16:creationId xmlns:a16="http://schemas.microsoft.com/office/drawing/2014/main" id="{277B9A4C-2202-45A1-881A-F6EC1EB2579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1800"/>
                <a:ext cx="72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8" name="Rectangle 160">
                <a:extLst>
                  <a:ext uri="{FF2B5EF4-FFF2-40B4-BE49-F238E27FC236}">
                    <a16:creationId xmlns:a16="http://schemas.microsoft.com/office/drawing/2014/main" id="{87CE3401-2153-4C9C-ADEC-D951990BD3E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1707"/>
                <a:ext cx="71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9" name="Rectangle 161">
                <a:extLst>
                  <a:ext uri="{FF2B5EF4-FFF2-40B4-BE49-F238E27FC236}">
                    <a16:creationId xmlns:a16="http://schemas.microsoft.com/office/drawing/2014/main" id="{CE9E5C59-44D9-4183-813B-B2B3D14B46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1707"/>
                <a:ext cx="72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0" name="Rectangle 162">
                <a:extLst>
                  <a:ext uri="{FF2B5EF4-FFF2-40B4-BE49-F238E27FC236}">
                    <a16:creationId xmlns:a16="http://schemas.microsoft.com/office/drawing/2014/main" id="{34807A69-04E7-4A3D-A799-F607FC8A0C8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23" y="1614"/>
                <a:ext cx="71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1" name="Rectangle 163">
                <a:extLst>
                  <a:ext uri="{FF2B5EF4-FFF2-40B4-BE49-F238E27FC236}">
                    <a16:creationId xmlns:a16="http://schemas.microsoft.com/office/drawing/2014/main" id="{1A06B4EA-EA8E-40AB-8ADC-6639E644BB7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27" y="1614"/>
                <a:ext cx="72" cy="73"/>
              </a:xfrm>
              <a:prstGeom prst="rect">
                <a:avLst/>
              </a:prstGeom>
              <a:solidFill>
                <a:srgbClr val="7FFFB2"/>
              </a:solidFill>
              <a:ln w="31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pitchFamily="2" charset="2"/>
                  <a:buNone/>
                  <a:defRPr/>
                </a:pPr>
                <a:endParaRPr lang="zh-CN" altLang="en-US" sz="100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13" name="Picture 203">
              <a:extLst>
                <a:ext uri="{FF2B5EF4-FFF2-40B4-BE49-F238E27FC236}">
                  <a16:creationId xmlns:a16="http://schemas.microsoft.com/office/drawing/2014/main" id="{3FA2A348-89C9-4706-BB96-9504A3A8CA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8415" y="3542474"/>
              <a:ext cx="395245" cy="349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205">
              <a:extLst>
                <a:ext uri="{FF2B5EF4-FFF2-40B4-BE49-F238E27FC236}">
                  <a16:creationId xmlns:a16="http://schemas.microsoft.com/office/drawing/2014/main" id="{CC105670-1583-4400-97C7-035AD7A7BD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420975" y="2434399"/>
              <a:ext cx="569852" cy="50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210">
              <a:extLst>
                <a:ext uri="{FF2B5EF4-FFF2-40B4-BE49-F238E27FC236}">
                  <a16:creationId xmlns:a16="http://schemas.microsoft.com/office/drawing/2014/main" id="{92C08D04-C624-4C36-BC4D-8EC6F955B5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260673" y="2740787"/>
              <a:ext cx="574613" cy="576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19">
              <a:extLst>
                <a:ext uri="{FF2B5EF4-FFF2-40B4-BE49-F238E27FC236}">
                  <a16:creationId xmlns:a16="http://schemas.microsoft.com/office/drawing/2014/main" id="{B3D09A60-0B6A-40AB-8D51-9762D193CC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614647" y="3739324"/>
              <a:ext cx="469850" cy="668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" name="组合 183">
              <a:extLst>
                <a:ext uri="{FF2B5EF4-FFF2-40B4-BE49-F238E27FC236}">
                  <a16:creationId xmlns:a16="http://schemas.microsoft.com/office/drawing/2014/main" id="{C53D6042-4518-4861-9F0B-DA5C044204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06662" y="5149025"/>
              <a:ext cx="1496853" cy="466725"/>
              <a:chOff x="277959" y="981173"/>
              <a:chExt cx="3266090" cy="825496"/>
            </a:xfrm>
          </p:grpSpPr>
          <p:sp>
            <p:nvSpPr>
              <p:cNvPr id="329" name="Freeform 162">
                <a:extLst>
                  <a:ext uri="{FF2B5EF4-FFF2-40B4-BE49-F238E27FC236}">
                    <a16:creationId xmlns:a16="http://schemas.microsoft.com/office/drawing/2014/main" id="{F0C24322-0065-4E49-A858-1B49B443CC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5375" y="1306757"/>
                <a:ext cx="248674" cy="38455"/>
              </a:xfrm>
              <a:custGeom>
                <a:avLst/>
                <a:gdLst>
                  <a:gd name="T0" fmla="*/ 2147483646 w 41"/>
                  <a:gd name="T1" fmla="*/ 2147483646 h 6"/>
                  <a:gd name="T2" fmla="*/ 0 w 41"/>
                  <a:gd name="T3" fmla="*/ 2147483646 h 6"/>
                  <a:gd name="T4" fmla="*/ 0 w 41"/>
                  <a:gd name="T5" fmla="*/ 2147483646 h 6"/>
                  <a:gd name="T6" fmla="*/ 2147483646 w 41"/>
                  <a:gd name="T7" fmla="*/ 0 h 6"/>
                  <a:gd name="T8" fmla="*/ 2147483646 w 41"/>
                  <a:gd name="T9" fmla="*/ 0 h 6"/>
                  <a:gd name="T10" fmla="*/ 2147483646 w 41"/>
                  <a:gd name="T11" fmla="*/ 2147483646 h 6"/>
                  <a:gd name="T12" fmla="*/ 2147483646 w 41"/>
                  <a:gd name="T13" fmla="*/ 2147483646 h 6"/>
                  <a:gd name="T14" fmla="*/ 2147483646 w 41"/>
                  <a:gd name="T15" fmla="*/ 2147483646 h 6"/>
                  <a:gd name="T16" fmla="*/ 2147483646 w 41"/>
                  <a:gd name="T17" fmla="*/ 2147483646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1" h="6">
                    <a:moveTo>
                      <a:pt x="3" y="5"/>
                    </a:moveTo>
                    <a:cubicBezTo>
                      <a:pt x="1" y="5"/>
                      <a:pt x="0" y="4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40" y="0"/>
                      <a:pt x="41" y="1"/>
                      <a:pt x="41" y="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4"/>
                      <a:pt x="40" y="6"/>
                      <a:pt x="38" y="6"/>
                    </a:cubicBez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0" name="Freeform 163">
                <a:extLst>
                  <a:ext uri="{FF2B5EF4-FFF2-40B4-BE49-F238E27FC236}">
                    <a16:creationId xmlns:a16="http://schemas.microsoft.com/office/drawing/2014/main" id="{ED1B2D61-40F8-4622-B3A4-B5F9C374C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5375" y="1501594"/>
                <a:ext cx="248674" cy="38455"/>
              </a:xfrm>
              <a:custGeom>
                <a:avLst/>
                <a:gdLst>
                  <a:gd name="T0" fmla="*/ 2147483646 w 41"/>
                  <a:gd name="T1" fmla="*/ 0 h 6"/>
                  <a:gd name="T2" fmla="*/ 0 w 41"/>
                  <a:gd name="T3" fmla="*/ 2147483646 h 6"/>
                  <a:gd name="T4" fmla="*/ 0 w 41"/>
                  <a:gd name="T5" fmla="*/ 2147483646 h 6"/>
                  <a:gd name="T6" fmla="*/ 2147483646 w 41"/>
                  <a:gd name="T7" fmla="*/ 2147483646 h 6"/>
                  <a:gd name="T8" fmla="*/ 2147483646 w 41"/>
                  <a:gd name="T9" fmla="*/ 2147483646 h 6"/>
                  <a:gd name="T10" fmla="*/ 2147483646 w 41"/>
                  <a:gd name="T11" fmla="*/ 2147483646 h 6"/>
                  <a:gd name="T12" fmla="*/ 2147483646 w 41"/>
                  <a:gd name="T13" fmla="*/ 2147483646 h 6"/>
                  <a:gd name="T14" fmla="*/ 2147483646 w 41"/>
                  <a:gd name="T15" fmla="*/ 0 h 6"/>
                  <a:gd name="T16" fmla="*/ 2147483646 w 41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1" h="6">
                    <a:moveTo>
                      <a:pt x="3" y="0"/>
                    </a:moveTo>
                    <a:cubicBezTo>
                      <a:pt x="1" y="0"/>
                      <a:pt x="0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9" y="6"/>
                      <a:pt x="41" y="5"/>
                      <a:pt x="41" y="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2"/>
                      <a:pt x="40" y="0"/>
                      <a:pt x="38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1" name="Freeform 164">
                <a:extLst>
                  <a:ext uri="{FF2B5EF4-FFF2-40B4-BE49-F238E27FC236}">
                    <a16:creationId xmlns:a16="http://schemas.microsoft.com/office/drawing/2014/main" id="{9F8D8348-627B-42E1-9241-A876DD41E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4901" y="1288811"/>
                <a:ext cx="256365" cy="261492"/>
              </a:xfrm>
              <a:custGeom>
                <a:avLst/>
                <a:gdLst>
                  <a:gd name="T0" fmla="*/ 2147483646 w 42"/>
                  <a:gd name="T1" fmla="*/ 2147483646 h 43"/>
                  <a:gd name="T2" fmla="*/ 0 w 42"/>
                  <a:gd name="T3" fmla="*/ 2147483646 h 43"/>
                  <a:gd name="T4" fmla="*/ 2147483646 w 42"/>
                  <a:gd name="T5" fmla="*/ 2147483646 h 43"/>
                  <a:gd name="T6" fmla="*/ 2147483646 w 42"/>
                  <a:gd name="T7" fmla="*/ 0 h 43"/>
                  <a:gd name="T8" fmla="*/ 2147483646 w 42"/>
                  <a:gd name="T9" fmla="*/ 0 h 43"/>
                  <a:gd name="T10" fmla="*/ 2147483646 w 42"/>
                  <a:gd name="T11" fmla="*/ 2147483646 h 43"/>
                  <a:gd name="T12" fmla="*/ 2147483646 w 42"/>
                  <a:gd name="T13" fmla="*/ 2147483646 h 43"/>
                  <a:gd name="T14" fmla="*/ 2147483646 w 42"/>
                  <a:gd name="T15" fmla="*/ 2147483646 h 43"/>
                  <a:gd name="T16" fmla="*/ 2147483646 w 42"/>
                  <a:gd name="T17" fmla="*/ 2147483646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2" h="43">
                    <a:moveTo>
                      <a:pt x="3" y="43"/>
                    </a:moveTo>
                    <a:cubicBezTo>
                      <a:pt x="2" y="43"/>
                      <a:pt x="0" y="42"/>
                      <a:pt x="0" y="40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1" y="0"/>
                      <a:pt x="42" y="1"/>
                      <a:pt x="42" y="3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42"/>
                      <a:pt x="41" y="43"/>
                      <a:pt x="39" y="43"/>
                    </a:cubicBezTo>
                    <a:lnTo>
                      <a:pt x="3" y="43"/>
                    </a:lnTo>
                    <a:close/>
                  </a:path>
                </a:pathLst>
              </a:cu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2" name="Freeform 165">
                <a:extLst>
                  <a:ext uri="{FF2B5EF4-FFF2-40B4-BE49-F238E27FC236}">
                    <a16:creationId xmlns:a16="http://schemas.microsoft.com/office/drawing/2014/main" id="{5130822B-1986-4A10-BF24-EC924E3C2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535" y="1399048"/>
                <a:ext cx="556312" cy="43582"/>
              </a:xfrm>
              <a:custGeom>
                <a:avLst/>
                <a:gdLst>
                  <a:gd name="T0" fmla="*/ 2147483646 w 92"/>
                  <a:gd name="T1" fmla="*/ 2147483646 h 7"/>
                  <a:gd name="T2" fmla="*/ 0 w 92"/>
                  <a:gd name="T3" fmla="*/ 2147483646 h 7"/>
                  <a:gd name="T4" fmla="*/ 0 w 92"/>
                  <a:gd name="T5" fmla="*/ 2147483646 h 7"/>
                  <a:gd name="T6" fmla="*/ 2147483646 w 92"/>
                  <a:gd name="T7" fmla="*/ 0 h 7"/>
                  <a:gd name="T8" fmla="*/ 2147483646 w 92"/>
                  <a:gd name="T9" fmla="*/ 0 h 7"/>
                  <a:gd name="T10" fmla="*/ 2147483646 w 92"/>
                  <a:gd name="T11" fmla="*/ 2147483646 h 7"/>
                  <a:gd name="T12" fmla="*/ 2147483646 w 92"/>
                  <a:gd name="T13" fmla="*/ 2147483646 h 7"/>
                  <a:gd name="T14" fmla="*/ 2147483646 w 92"/>
                  <a:gd name="T15" fmla="*/ 2147483646 h 7"/>
                  <a:gd name="T16" fmla="*/ 2147483646 w 92"/>
                  <a:gd name="T17" fmla="*/ 2147483646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2" h="7">
                    <a:moveTo>
                      <a:pt x="2" y="6"/>
                    </a:moveTo>
                    <a:cubicBezTo>
                      <a:pt x="1" y="6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0" y="0"/>
                      <a:pt x="92" y="1"/>
                      <a:pt x="92" y="3"/>
                    </a:cubicBezTo>
                    <a:cubicBezTo>
                      <a:pt x="92" y="4"/>
                      <a:pt x="92" y="4"/>
                      <a:pt x="92" y="4"/>
                    </a:cubicBezTo>
                    <a:cubicBezTo>
                      <a:pt x="92" y="6"/>
                      <a:pt x="90" y="7"/>
                      <a:pt x="89" y="7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3" name="Freeform 166">
                <a:extLst>
                  <a:ext uri="{FF2B5EF4-FFF2-40B4-BE49-F238E27FC236}">
                    <a16:creationId xmlns:a16="http://schemas.microsoft.com/office/drawing/2014/main" id="{9BB6E3D1-2481-44FB-A49F-BA3D025FB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6701" y="1375975"/>
                <a:ext cx="89728" cy="89728"/>
              </a:xfrm>
              <a:custGeom>
                <a:avLst/>
                <a:gdLst>
                  <a:gd name="T0" fmla="*/ 2147483646 w 15"/>
                  <a:gd name="T1" fmla="*/ 0 h 15"/>
                  <a:gd name="T2" fmla="*/ 2147483646 w 15"/>
                  <a:gd name="T3" fmla="*/ 2147483646 h 15"/>
                  <a:gd name="T4" fmla="*/ 2147483646 w 15"/>
                  <a:gd name="T5" fmla="*/ 2147483646 h 15"/>
                  <a:gd name="T6" fmla="*/ 2147483646 w 15"/>
                  <a:gd name="T7" fmla="*/ 2147483646 h 15"/>
                  <a:gd name="T8" fmla="*/ 2147483646 w 1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8" y="0"/>
                    </a:moveTo>
                    <a:cubicBezTo>
                      <a:pt x="4" y="0"/>
                      <a:pt x="1" y="4"/>
                      <a:pt x="1" y="8"/>
                    </a:cubicBezTo>
                    <a:cubicBezTo>
                      <a:pt x="0" y="11"/>
                      <a:pt x="4" y="15"/>
                      <a:pt x="8" y="15"/>
                    </a:cubicBezTo>
                    <a:cubicBezTo>
                      <a:pt x="12" y="15"/>
                      <a:pt x="15" y="12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4" name="Oval 167">
                <a:extLst>
                  <a:ext uri="{FF2B5EF4-FFF2-40B4-BE49-F238E27FC236}">
                    <a16:creationId xmlns:a16="http://schemas.microsoft.com/office/drawing/2014/main" id="{A8766725-2C6C-45B2-A527-52C0F7F4B4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3084" y="1399048"/>
                <a:ext cx="48709" cy="48709"/>
              </a:xfrm>
              <a:prstGeom prst="ellipse">
                <a:avLst/>
              </a:pr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5" name="Freeform 168">
                <a:extLst>
                  <a:ext uri="{FF2B5EF4-FFF2-40B4-BE49-F238E27FC236}">
                    <a16:creationId xmlns:a16="http://schemas.microsoft.com/office/drawing/2014/main" id="{F65E81D4-75FF-4F40-91A1-DB0621433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8448" y="1260611"/>
                <a:ext cx="35891" cy="325584"/>
              </a:xfrm>
              <a:custGeom>
                <a:avLst/>
                <a:gdLst>
                  <a:gd name="T0" fmla="*/ 2147483646 w 6"/>
                  <a:gd name="T1" fmla="*/ 2147483646 h 54"/>
                  <a:gd name="T2" fmla="*/ 0 w 6"/>
                  <a:gd name="T3" fmla="*/ 2147483646 h 54"/>
                  <a:gd name="T4" fmla="*/ 0 w 6"/>
                  <a:gd name="T5" fmla="*/ 2147483646 h 54"/>
                  <a:gd name="T6" fmla="*/ 2147483646 w 6"/>
                  <a:gd name="T7" fmla="*/ 0 h 54"/>
                  <a:gd name="T8" fmla="*/ 2147483646 w 6"/>
                  <a:gd name="T9" fmla="*/ 0 h 54"/>
                  <a:gd name="T10" fmla="*/ 2147483646 w 6"/>
                  <a:gd name="T11" fmla="*/ 2147483646 h 54"/>
                  <a:gd name="T12" fmla="*/ 2147483646 w 6"/>
                  <a:gd name="T13" fmla="*/ 2147483646 h 54"/>
                  <a:gd name="T14" fmla="*/ 2147483646 w 6"/>
                  <a:gd name="T15" fmla="*/ 2147483646 h 5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54">
                    <a:moveTo>
                      <a:pt x="3" y="54"/>
                    </a:moveTo>
                    <a:cubicBezTo>
                      <a:pt x="1" y="54"/>
                      <a:pt x="0" y="53"/>
                      <a:pt x="0" y="5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53"/>
                      <a:pt x="5" y="54"/>
                      <a:pt x="3" y="54"/>
                    </a:cubicBezTo>
                    <a:close/>
                  </a:path>
                </a:pathLst>
              </a:cu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6" name="Freeform 169">
                <a:extLst>
                  <a:ext uri="{FF2B5EF4-FFF2-40B4-BE49-F238E27FC236}">
                    <a16:creationId xmlns:a16="http://schemas.microsoft.com/office/drawing/2014/main" id="{E5A08CA0-4B31-49F4-8552-2857030946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7959" y="981173"/>
                <a:ext cx="2335485" cy="722949"/>
              </a:xfrm>
              <a:custGeom>
                <a:avLst/>
                <a:gdLst>
                  <a:gd name="T0" fmla="*/ 2147483646 w 385"/>
                  <a:gd name="T1" fmla="*/ 2147483646 h 119"/>
                  <a:gd name="T2" fmla="*/ 2147483646 w 385"/>
                  <a:gd name="T3" fmla="*/ 2147483646 h 119"/>
                  <a:gd name="T4" fmla="*/ 2147483646 w 385"/>
                  <a:gd name="T5" fmla="*/ 2147483646 h 119"/>
                  <a:gd name="T6" fmla="*/ 2147483646 w 385"/>
                  <a:gd name="T7" fmla="*/ 2147483646 h 119"/>
                  <a:gd name="T8" fmla="*/ 2147483646 w 385"/>
                  <a:gd name="T9" fmla="*/ 2147483646 h 119"/>
                  <a:gd name="T10" fmla="*/ 2147483646 w 385"/>
                  <a:gd name="T11" fmla="*/ 2147483646 h 119"/>
                  <a:gd name="T12" fmla="*/ 2147483646 w 385"/>
                  <a:gd name="T13" fmla="*/ 2147483646 h 119"/>
                  <a:gd name="T14" fmla="*/ 2147483646 w 385"/>
                  <a:gd name="T15" fmla="*/ 2147483646 h 119"/>
                  <a:gd name="T16" fmla="*/ 2147483646 w 385"/>
                  <a:gd name="T17" fmla="*/ 2147483646 h 119"/>
                  <a:gd name="T18" fmla="*/ 2147483646 w 385"/>
                  <a:gd name="T19" fmla="*/ 2147483646 h 119"/>
                  <a:gd name="T20" fmla="*/ 2147483646 w 385"/>
                  <a:gd name="T21" fmla="*/ 2147483646 h 119"/>
                  <a:gd name="T22" fmla="*/ 2147483646 w 385"/>
                  <a:gd name="T23" fmla="*/ 2147483646 h 119"/>
                  <a:gd name="T24" fmla="*/ 2147483646 w 385"/>
                  <a:gd name="T25" fmla="*/ 2147483646 h 119"/>
                  <a:gd name="T26" fmla="*/ 2147483646 w 385"/>
                  <a:gd name="T27" fmla="*/ 2147483646 h 119"/>
                  <a:gd name="T28" fmla="*/ 2147483646 w 385"/>
                  <a:gd name="T29" fmla="*/ 2147483646 h 119"/>
                  <a:gd name="T30" fmla="*/ 2147483646 w 385"/>
                  <a:gd name="T31" fmla="*/ 2147483646 h 119"/>
                  <a:gd name="T32" fmla="*/ 2147483646 w 385"/>
                  <a:gd name="T33" fmla="*/ 2147483646 h 119"/>
                  <a:gd name="T34" fmla="*/ 2147483646 w 385"/>
                  <a:gd name="T35" fmla="*/ 2147483646 h 119"/>
                  <a:gd name="T36" fmla="*/ 2147483646 w 385"/>
                  <a:gd name="T37" fmla="*/ 2147483646 h 119"/>
                  <a:gd name="T38" fmla="*/ 2147483646 w 385"/>
                  <a:gd name="T39" fmla="*/ 2147483646 h 119"/>
                  <a:gd name="T40" fmla="*/ 2147483646 w 385"/>
                  <a:gd name="T41" fmla="*/ 2147483646 h 119"/>
                  <a:gd name="T42" fmla="*/ 2147483646 w 385"/>
                  <a:gd name="T43" fmla="*/ 2147483646 h 119"/>
                  <a:gd name="T44" fmla="*/ 2147483646 w 385"/>
                  <a:gd name="T45" fmla="*/ 2147483646 h 119"/>
                  <a:gd name="T46" fmla="*/ 2147483646 w 385"/>
                  <a:gd name="T47" fmla="*/ 2147483646 h 119"/>
                  <a:gd name="T48" fmla="*/ 2147483646 w 385"/>
                  <a:gd name="T49" fmla="*/ 2147483646 h 119"/>
                  <a:gd name="T50" fmla="*/ 2147483646 w 385"/>
                  <a:gd name="T51" fmla="*/ 2147483646 h 119"/>
                  <a:gd name="T52" fmla="*/ 2147483646 w 385"/>
                  <a:gd name="T53" fmla="*/ 2147483646 h 119"/>
                  <a:gd name="T54" fmla="*/ 2147483646 w 385"/>
                  <a:gd name="T55" fmla="*/ 2147483646 h 119"/>
                  <a:gd name="T56" fmla="*/ 2147483646 w 385"/>
                  <a:gd name="T57" fmla="*/ 2147483646 h 119"/>
                  <a:gd name="T58" fmla="*/ 2147483646 w 385"/>
                  <a:gd name="T59" fmla="*/ 2147483646 h 119"/>
                  <a:gd name="T60" fmla="*/ 2147483646 w 385"/>
                  <a:gd name="T61" fmla="*/ 2147483646 h 119"/>
                  <a:gd name="T62" fmla="*/ 2147483646 w 385"/>
                  <a:gd name="T63" fmla="*/ 2147483646 h 119"/>
                  <a:gd name="T64" fmla="*/ 2147483646 w 385"/>
                  <a:gd name="T65" fmla="*/ 2147483646 h 119"/>
                  <a:gd name="T66" fmla="*/ 2147483646 w 385"/>
                  <a:gd name="T67" fmla="*/ 2147483646 h 119"/>
                  <a:gd name="T68" fmla="*/ 2147483646 w 385"/>
                  <a:gd name="T69" fmla="*/ 2147483646 h 119"/>
                  <a:gd name="T70" fmla="*/ 2147483646 w 385"/>
                  <a:gd name="T71" fmla="*/ 2147483646 h 119"/>
                  <a:gd name="T72" fmla="*/ 2147483646 w 385"/>
                  <a:gd name="T73" fmla="*/ 2147483646 h 119"/>
                  <a:gd name="T74" fmla="*/ 2147483646 w 385"/>
                  <a:gd name="T75" fmla="*/ 2147483646 h 119"/>
                  <a:gd name="T76" fmla="*/ 2147483646 w 385"/>
                  <a:gd name="T77" fmla="*/ 2147483646 h 119"/>
                  <a:gd name="T78" fmla="*/ 2147483646 w 385"/>
                  <a:gd name="T79" fmla="*/ 2147483646 h 119"/>
                  <a:gd name="T80" fmla="*/ 2147483646 w 385"/>
                  <a:gd name="T81" fmla="*/ 2147483646 h 119"/>
                  <a:gd name="T82" fmla="*/ 2147483646 w 385"/>
                  <a:gd name="T83" fmla="*/ 2147483646 h 119"/>
                  <a:gd name="T84" fmla="*/ 2147483646 w 385"/>
                  <a:gd name="T85" fmla="*/ 2147483646 h 119"/>
                  <a:gd name="T86" fmla="*/ 2147483646 w 385"/>
                  <a:gd name="T87" fmla="*/ 2147483646 h 119"/>
                  <a:gd name="T88" fmla="*/ 2147483646 w 385"/>
                  <a:gd name="T89" fmla="*/ 2147483646 h 119"/>
                  <a:gd name="T90" fmla="*/ 2147483646 w 385"/>
                  <a:gd name="T91" fmla="*/ 2147483646 h 119"/>
                  <a:gd name="T92" fmla="*/ 2147483646 w 385"/>
                  <a:gd name="T93" fmla="*/ 2147483646 h 119"/>
                  <a:gd name="T94" fmla="*/ 2147483646 w 385"/>
                  <a:gd name="T95" fmla="*/ 2147483646 h 119"/>
                  <a:gd name="T96" fmla="*/ 2147483646 w 385"/>
                  <a:gd name="T97" fmla="*/ 2147483646 h 119"/>
                  <a:gd name="T98" fmla="*/ 2147483646 w 385"/>
                  <a:gd name="T99" fmla="*/ 2147483646 h 119"/>
                  <a:gd name="T100" fmla="*/ 2147483646 w 385"/>
                  <a:gd name="T101" fmla="*/ 2147483646 h 119"/>
                  <a:gd name="T102" fmla="*/ 2147483646 w 385"/>
                  <a:gd name="T103" fmla="*/ 2147483646 h 119"/>
                  <a:gd name="T104" fmla="*/ 2147483646 w 385"/>
                  <a:gd name="T105" fmla="*/ 2147483646 h 119"/>
                  <a:gd name="T106" fmla="*/ 2147483646 w 385"/>
                  <a:gd name="T107" fmla="*/ 2147483646 h 119"/>
                  <a:gd name="T108" fmla="*/ 2147483646 w 385"/>
                  <a:gd name="T109" fmla="*/ 2147483646 h 119"/>
                  <a:gd name="T110" fmla="*/ 2147483646 w 385"/>
                  <a:gd name="T111" fmla="*/ 2147483646 h 119"/>
                  <a:gd name="T112" fmla="*/ 2147483646 w 385"/>
                  <a:gd name="T113" fmla="*/ 2147483646 h 119"/>
                  <a:gd name="T114" fmla="*/ 2147483646 w 385"/>
                  <a:gd name="T115" fmla="*/ 2147483646 h 119"/>
                  <a:gd name="T116" fmla="*/ 2147483646 w 385"/>
                  <a:gd name="T117" fmla="*/ 2147483646 h 119"/>
                  <a:gd name="T118" fmla="*/ 2147483646 w 385"/>
                  <a:gd name="T119" fmla="*/ 2147483646 h 119"/>
                  <a:gd name="T120" fmla="*/ 2147483646 w 385"/>
                  <a:gd name="T121" fmla="*/ 2147483646 h 119"/>
                  <a:gd name="T122" fmla="*/ 2147483646 w 385"/>
                  <a:gd name="T123" fmla="*/ 2147483646 h 11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85" h="119"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" y="58"/>
                    </a:moveTo>
                    <a:cubicBezTo>
                      <a:pt x="21" y="58"/>
                      <a:pt x="78" y="41"/>
                      <a:pt x="99" y="37"/>
                    </a:cubicBezTo>
                    <a:cubicBezTo>
                      <a:pt x="99" y="37"/>
                      <a:pt x="143" y="10"/>
                      <a:pt x="157" y="6"/>
                    </a:cubicBezTo>
                    <a:cubicBezTo>
                      <a:pt x="157" y="6"/>
                      <a:pt x="175" y="2"/>
                      <a:pt x="179" y="1"/>
                    </a:cubicBez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0"/>
                      <a:pt x="295" y="2"/>
                      <a:pt x="314" y="15"/>
                    </a:cubicBezTo>
                    <a:cubicBezTo>
                      <a:pt x="342" y="31"/>
                      <a:pt x="342" y="31"/>
                      <a:pt x="342" y="31"/>
                    </a:cubicBezTo>
                    <a:cubicBezTo>
                      <a:pt x="342" y="31"/>
                      <a:pt x="345" y="34"/>
                      <a:pt x="350" y="34"/>
                    </a:cubicBezTo>
                    <a:cubicBezTo>
                      <a:pt x="369" y="34"/>
                      <a:pt x="369" y="34"/>
                      <a:pt x="369" y="34"/>
                    </a:cubicBezTo>
                    <a:cubicBezTo>
                      <a:pt x="369" y="34"/>
                      <a:pt x="374" y="36"/>
                      <a:pt x="376" y="43"/>
                    </a:cubicBezTo>
                    <a:cubicBezTo>
                      <a:pt x="376" y="67"/>
                      <a:pt x="376" y="67"/>
                      <a:pt x="376" y="67"/>
                    </a:cubicBezTo>
                    <a:cubicBezTo>
                      <a:pt x="385" y="75"/>
                      <a:pt x="385" y="75"/>
                      <a:pt x="385" y="75"/>
                    </a:cubicBezTo>
                    <a:cubicBezTo>
                      <a:pt x="385" y="91"/>
                      <a:pt x="385" y="91"/>
                      <a:pt x="385" y="91"/>
                    </a:cubicBezTo>
                    <a:cubicBezTo>
                      <a:pt x="385" y="91"/>
                      <a:pt x="383" y="96"/>
                      <a:pt x="382" y="96"/>
                    </a:cubicBezTo>
                    <a:cubicBezTo>
                      <a:pt x="382" y="100"/>
                      <a:pt x="382" y="100"/>
                      <a:pt x="382" y="100"/>
                    </a:cubicBezTo>
                    <a:cubicBezTo>
                      <a:pt x="382" y="100"/>
                      <a:pt x="366" y="109"/>
                      <a:pt x="336" y="111"/>
                    </a:cubicBezTo>
                    <a:cubicBezTo>
                      <a:pt x="336" y="111"/>
                      <a:pt x="332" y="75"/>
                      <a:pt x="300" y="77"/>
                    </a:cubicBezTo>
                    <a:cubicBezTo>
                      <a:pt x="300" y="77"/>
                      <a:pt x="268" y="76"/>
                      <a:pt x="269" y="114"/>
                    </a:cubicBezTo>
                    <a:cubicBezTo>
                      <a:pt x="104" y="114"/>
                      <a:pt x="104" y="114"/>
                      <a:pt x="104" y="114"/>
                    </a:cubicBezTo>
                    <a:cubicBezTo>
                      <a:pt x="104" y="114"/>
                      <a:pt x="104" y="78"/>
                      <a:pt x="70" y="78"/>
                    </a:cubicBezTo>
                    <a:cubicBezTo>
                      <a:pt x="70" y="78"/>
                      <a:pt x="36" y="80"/>
                      <a:pt x="39" y="115"/>
                    </a:cubicBezTo>
                    <a:cubicBezTo>
                      <a:pt x="39" y="115"/>
                      <a:pt x="8" y="119"/>
                      <a:pt x="7" y="103"/>
                    </a:cubicBezTo>
                    <a:cubicBezTo>
                      <a:pt x="7" y="103"/>
                      <a:pt x="0" y="72"/>
                      <a:pt x="21" y="58"/>
                    </a:cubicBezTo>
                    <a:close/>
                    <a:moveTo>
                      <a:pt x="373" y="62"/>
                    </a:moveTo>
                    <a:cubicBezTo>
                      <a:pt x="373" y="45"/>
                      <a:pt x="373" y="45"/>
                      <a:pt x="373" y="45"/>
                    </a:cubicBezTo>
                    <a:cubicBezTo>
                      <a:pt x="373" y="39"/>
                      <a:pt x="370" y="37"/>
                      <a:pt x="370" y="37"/>
                    </a:cubicBezTo>
                    <a:cubicBezTo>
                      <a:pt x="366" y="37"/>
                      <a:pt x="366" y="37"/>
                      <a:pt x="366" y="37"/>
                    </a:cubicBezTo>
                    <a:cubicBezTo>
                      <a:pt x="366" y="41"/>
                      <a:pt x="355" y="62"/>
                      <a:pt x="355" y="62"/>
                    </a:cubicBezTo>
                    <a:lnTo>
                      <a:pt x="373" y="62"/>
                    </a:lnTo>
                    <a:close/>
                    <a:moveTo>
                      <a:pt x="211" y="107"/>
                    </a:moveTo>
                    <a:cubicBezTo>
                      <a:pt x="255" y="107"/>
                      <a:pt x="255" y="107"/>
                      <a:pt x="255" y="107"/>
                    </a:cubicBezTo>
                    <a:cubicBezTo>
                      <a:pt x="256" y="107"/>
                      <a:pt x="264" y="106"/>
                      <a:pt x="265" y="97"/>
                    </a:cubicBezTo>
                    <a:cubicBezTo>
                      <a:pt x="266" y="96"/>
                      <a:pt x="276" y="77"/>
                      <a:pt x="287" y="74"/>
                    </a:cubicBezTo>
                    <a:cubicBezTo>
                      <a:pt x="288" y="73"/>
                      <a:pt x="301" y="70"/>
                      <a:pt x="304" y="54"/>
                    </a:cubicBezTo>
                    <a:cubicBezTo>
                      <a:pt x="304" y="54"/>
                      <a:pt x="307" y="33"/>
                      <a:pt x="302" y="25"/>
                    </a:cubicBezTo>
                    <a:cubicBezTo>
                      <a:pt x="302" y="25"/>
                      <a:pt x="302" y="25"/>
                      <a:pt x="302" y="25"/>
                    </a:cubicBezTo>
                    <a:cubicBezTo>
                      <a:pt x="302" y="25"/>
                      <a:pt x="302" y="25"/>
                      <a:pt x="302" y="25"/>
                    </a:cubicBezTo>
                    <a:cubicBezTo>
                      <a:pt x="301" y="25"/>
                      <a:pt x="281" y="8"/>
                      <a:pt x="256" y="4"/>
                    </a:cubicBezTo>
                    <a:cubicBezTo>
                      <a:pt x="221" y="4"/>
                      <a:pt x="221" y="4"/>
                      <a:pt x="221" y="4"/>
                    </a:cubicBezTo>
                    <a:cubicBezTo>
                      <a:pt x="221" y="5"/>
                      <a:pt x="221" y="5"/>
                      <a:pt x="221" y="5"/>
                    </a:cubicBezTo>
                    <a:cubicBezTo>
                      <a:pt x="214" y="45"/>
                      <a:pt x="214" y="45"/>
                      <a:pt x="214" y="45"/>
                    </a:cubicBezTo>
                    <a:cubicBezTo>
                      <a:pt x="214" y="45"/>
                      <a:pt x="209" y="74"/>
                      <a:pt x="211" y="106"/>
                    </a:cubicBezTo>
                    <a:lnTo>
                      <a:pt x="211" y="107"/>
                    </a:lnTo>
                    <a:close/>
                    <a:moveTo>
                      <a:pt x="110" y="107"/>
                    </a:moveTo>
                    <a:cubicBezTo>
                      <a:pt x="110" y="108"/>
                      <a:pt x="110" y="108"/>
                      <a:pt x="110" y="108"/>
                    </a:cubicBezTo>
                    <a:cubicBezTo>
                      <a:pt x="210" y="107"/>
                      <a:pt x="210" y="107"/>
                      <a:pt x="210" y="107"/>
                    </a:cubicBezTo>
                    <a:cubicBezTo>
                      <a:pt x="210" y="106"/>
                      <a:pt x="210" y="106"/>
                      <a:pt x="210" y="106"/>
                    </a:cubicBezTo>
                    <a:cubicBezTo>
                      <a:pt x="207" y="88"/>
                      <a:pt x="213" y="45"/>
                      <a:pt x="213" y="45"/>
                    </a:cubicBezTo>
                    <a:cubicBezTo>
                      <a:pt x="220" y="4"/>
                      <a:pt x="220" y="4"/>
                      <a:pt x="220" y="4"/>
                    </a:cubicBezTo>
                    <a:cubicBezTo>
                      <a:pt x="219" y="4"/>
                      <a:pt x="219" y="4"/>
                      <a:pt x="219" y="4"/>
                    </a:cubicBezTo>
                    <a:cubicBezTo>
                      <a:pt x="174" y="4"/>
                      <a:pt x="164" y="9"/>
                      <a:pt x="162" y="10"/>
                    </a:cubicBezTo>
                    <a:cubicBezTo>
                      <a:pt x="136" y="19"/>
                      <a:pt x="110" y="43"/>
                      <a:pt x="110" y="43"/>
                    </a:cubicBezTo>
                    <a:cubicBezTo>
                      <a:pt x="110" y="43"/>
                      <a:pt x="110" y="43"/>
                      <a:pt x="110" y="43"/>
                    </a:cubicBezTo>
                    <a:cubicBezTo>
                      <a:pt x="101" y="57"/>
                      <a:pt x="109" y="105"/>
                      <a:pt x="110" y="107"/>
                    </a:cubicBezTo>
                    <a:close/>
                    <a:moveTo>
                      <a:pt x="38" y="74"/>
                    </a:moveTo>
                    <a:cubicBezTo>
                      <a:pt x="38" y="74"/>
                      <a:pt x="46" y="65"/>
                      <a:pt x="42" y="62"/>
                    </a:cubicBezTo>
                    <a:cubicBezTo>
                      <a:pt x="42" y="62"/>
                      <a:pt x="31" y="56"/>
                      <a:pt x="21" y="62"/>
                    </a:cubicBezTo>
                    <a:cubicBezTo>
                      <a:pt x="21" y="62"/>
                      <a:pt x="14" y="69"/>
                      <a:pt x="14" y="74"/>
                    </a:cubicBezTo>
                    <a:lnTo>
                      <a:pt x="38" y="74"/>
                    </a:lnTo>
                    <a:close/>
                    <a:moveTo>
                      <a:pt x="11" y="107"/>
                    </a:moveTo>
                    <a:cubicBezTo>
                      <a:pt x="17" y="107"/>
                      <a:pt x="17" y="107"/>
                      <a:pt x="17" y="107"/>
                    </a:cubicBezTo>
                    <a:cubicBezTo>
                      <a:pt x="17" y="98"/>
                      <a:pt x="11" y="96"/>
                      <a:pt x="11" y="96"/>
                    </a:cubicBezTo>
                    <a:cubicBezTo>
                      <a:pt x="8" y="102"/>
                      <a:pt x="11" y="107"/>
                      <a:pt x="11" y="107"/>
                    </a:cubicBezTo>
                    <a:close/>
                    <a:moveTo>
                      <a:pt x="112" y="44"/>
                    </a:move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ubicBezTo>
                      <a:pt x="112" y="45"/>
                      <a:pt x="112" y="44"/>
                      <a:pt x="112" y="44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23" y="6"/>
                    </a:move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lnTo>
                      <a:pt x="223" y="6"/>
                    </a:ln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217" y="45"/>
                    </a:moveTo>
                    <a:cubicBezTo>
                      <a:pt x="223" y="6"/>
                      <a:pt x="223" y="6"/>
                      <a:pt x="223" y="6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79" y="10"/>
                      <a:pt x="298" y="25"/>
                      <a:pt x="300" y="27"/>
                    </a:cubicBezTo>
                    <a:cubicBezTo>
                      <a:pt x="304" y="34"/>
                      <a:pt x="301" y="54"/>
                      <a:pt x="301" y="54"/>
                    </a:cubicBezTo>
                    <a:cubicBezTo>
                      <a:pt x="299" y="69"/>
                      <a:pt x="287" y="71"/>
                      <a:pt x="286" y="72"/>
                    </a:cubicBezTo>
                    <a:cubicBezTo>
                      <a:pt x="286" y="72"/>
                      <a:pt x="286" y="72"/>
                      <a:pt x="286" y="72"/>
                    </a:cubicBezTo>
                    <a:cubicBezTo>
                      <a:pt x="274" y="75"/>
                      <a:pt x="264" y="96"/>
                      <a:pt x="263" y="96"/>
                    </a:cubicBezTo>
                    <a:cubicBezTo>
                      <a:pt x="263" y="97"/>
                      <a:pt x="263" y="97"/>
                      <a:pt x="263" y="97"/>
                    </a:cubicBezTo>
                    <a:cubicBezTo>
                      <a:pt x="262" y="104"/>
                      <a:pt x="256" y="104"/>
                      <a:pt x="255" y="104"/>
                    </a:cubicBezTo>
                    <a:cubicBezTo>
                      <a:pt x="213" y="104"/>
                      <a:pt x="213" y="104"/>
                      <a:pt x="213" y="104"/>
                    </a:cubicBezTo>
                    <a:cubicBezTo>
                      <a:pt x="211" y="74"/>
                      <a:pt x="216" y="46"/>
                      <a:pt x="217" y="45"/>
                    </a:cubicBezTo>
                    <a:close/>
                    <a:moveTo>
                      <a:pt x="286" y="58"/>
                    </a:moveTo>
                    <a:cubicBezTo>
                      <a:pt x="289" y="58"/>
                      <a:pt x="291" y="57"/>
                      <a:pt x="292" y="55"/>
                    </a:cubicBezTo>
                    <a:cubicBezTo>
                      <a:pt x="292" y="55"/>
                      <a:pt x="292" y="54"/>
                      <a:pt x="292" y="54"/>
                    </a:cubicBezTo>
                    <a:cubicBezTo>
                      <a:pt x="292" y="54"/>
                      <a:pt x="292" y="53"/>
                      <a:pt x="292" y="53"/>
                    </a:cubicBezTo>
                    <a:cubicBezTo>
                      <a:pt x="291" y="51"/>
                      <a:pt x="289" y="50"/>
                      <a:pt x="286" y="50"/>
                    </a:cubicBezTo>
                    <a:cubicBezTo>
                      <a:pt x="283" y="50"/>
                      <a:pt x="280" y="51"/>
                      <a:pt x="279" y="53"/>
                    </a:cubicBezTo>
                    <a:cubicBezTo>
                      <a:pt x="279" y="53"/>
                      <a:pt x="279" y="54"/>
                      <a:pt x="279" y="54"/>
                    </a:cubicBezTo>
                    <a:cubicBezTo>
                      <a:pt x="279" y="54"/>
                      <a:pt x="279" y="55"/>
                      <a:pt x="280" y="55"/>
                    </a:cubicBezTo>
                    <a:cubicBezTo>
                      <a:pt x="281" y="57"/>
                      <a:pt x="283" y="58"/>
                      <a:pt x="286" y="58"/>
                    </a:cubicBezTo>
                    <a:close/>
                    <a:moveTo>
                      <a:pt x="298" y="43"/>
                    </a:moveTo>
                    <a:cubicBezTo>
                      <a:pt x="298" y="43"/>
                      <a:pt x="300" y="35"/>
                      <a:pt x="295" y="31"/>
                    </a:cubicBezTo>
                    <a:cubicBezTo>
                      <a:pt x="295" y="31"/>
                      <a:pt x="272" y="10"/>
                      <a:pt x="249" y="9"/>
                    </a:cubicBezTo>
                    <a:cubicBezTo>
                      <a:pt x="225" y="9"/>
                      <a:pt x="225" y="9"/>
                      <a:pt x="225" y="9"/>
                    </a:cubicBezTo>
                    <a:cubicBezTo>
                      <a:pt x="221" y="46"/>
                      <a:pt x="221" y="46"/>
                      <a:pt x="221" y="46"/>
                    </a:cubicBezTo>
                    <a:lnTo>
                      <a:pt x="298" y="43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  <a:moveTo>
                      <a:pt x="112" y="45"/>
                    </a:moveTo>
                    <a:cubicBezTo>
                      <a:pt x="112" y="45"/>
                      <a:pt x="112" y="44"/>
                      <a:pt x="112" y="44"/>
                    </a:cubicBezTo>
                    <a:cubicBezTo>
                      <a:pt x="112" y="44"/>
                      <a:pt x="112" y="44"/>
                      <a:pt x="113" y="44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20" y="37"/>
                      <a:pt x="141" y="19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3" y="12"/>
                      <a:pt x="164" y="11"/>
                      <a:pt x="167" y="11"/>
                    </a:cubicBezTo>
                    <a:cubicBezTo>
                      <a:pt x="168" y="10"/>
                      <a:pt x="168" y="10"/>
                      <a:pt x="169" y="10"/>
                    </a:cubicBezTo>
                    <a:cubicBezTo>
                      <a:pt x="169" y="10"/>
                      <a:pt x="170" y="10"/>
                      <a:pt x="171" y="10"/>
                    </a:cubicBezTo>
                    <a:cubicBezTo>
                      <a:pt x="171" y="10"/>
                      <a:pt x="172" y="9"/>
                      <a:pt x="172" y="9"/>
                    </a:cubicBezTo>
                    <a:cubicBezTo>
                      <a:pt x="173" y="9"/>
                      <a:pt x="174" y="9"/>
                      <a:pt x="175" y="9"/>
                    </a:cubicBezTo>
                    <a:cubicBezTo>
                      <a:pt x="175" y="9"/>
                      <a:pt x="175" y="9"/>
                      <a:pt x="175" y="9"/>
                    </a:cubicBezTo>
                    <a:cubicBezTo>
                      <a:pt x="176" y="9"/>
                      <a:pt x="176" y="9"/>
                      <a:pt x="177" y="9"/>
                    </a:cubicBezTo>
                    <a:cubicBezTo>
                      <a:pt x="178" y="8"/>
                      <a:pt x="179" y="8"/>
                      <a:pt x="181" y="8"/>
                    </a:cubicBezTo>
                    <a:cubicBezTo>
                      <a:pt x="183" y="8"/>
                      <a:pt x="186" y="7"/>
                      <a:pt x="188" y="7"/>
                    </a:cubicBezTo>
                    <a:cubicBezTo>
                      <a:pt x="189" y="7"/>
                      <a:pt x="190" y="7"/>
                      <a:pt x="191" y="7"/>
                    </a:cubicBezTo>
                    <a:cubicBezTo>
                      <a:pt x="198" y="7"/>
                      <a:pt x="207" y="6"/>
                      <a:pt x="218" y="6"/>
                    </a:cubicBezTo>
                    <a:cubicBezTo>
                      <a:pt x="211" y="44"/>
                      <a:pt x="211" y="44"/>
                      <a:pt x="211" y="44"/>
                    </a:cubicBezTo>
                    <a:cubicBezTo>
                      <a:pt x="211" y="46"/>
                      <a:pt x="205" y="86"/>
                      <a:pt x="208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1" y="99"/>
                      <a:pt x="104" y="57"/>
                      <a:pt x="112" y="45"/>
                    </a:cubicBezTo>
                    <a:close/>
                    <a:moveTo>
                      <a:pt x="193" y="63"/>
                    </a:moveTo>
                    <a:cubicBezTo>
                      <a:pt x="196" y="63"/>
                      <a:pt x="199" y="62"/>
                      <a:pt x="200" y="60"/>
                    </a:cubicBezTo>
                    <a:cubicBezTo>
                      <a:pt x="200" y="60"/>
                      <a:pt x="200" y="59"/>
                      <a:pt x="200" y="59"/>
                    </a:cubicBezTo>
                    <a:cubicBezTo>
                      <a:pt x="200" y="59"/>
                      <a:pt x="200" y="58"/>
                      <a:pt x="200" y="58"/>
                    </a:cubicBezTo>
                    <a:cubicBezTo>
                      <a:pt x="199" y="56"/>
                      <a:pt x="196" y="55"/>
                      <a:pt x="193" y="55"/>
                    </a:cubicBezTo>
                    <a:cubicBezTo>
                      <a:pt x="191" y="55"/>
                      <a:pt x="188" y="56"/>
                      <a:pt x="187" y="58"/>
                    </a:cubicBezTo>
                    <a:cubicBezTo>
                      <a:pt x="187" y="58"/>
                      <a:pt x="187" y="59"/>
                      <a:pt x="187" y="59"/>
                    </a:cubicBezTo>
                    <a:cubicBezTo>
                      <a:pt x="187" y="59"/>
                      <a:pt x="187" y="60"/>
                      <a:pt x="187" y="60"/>
                    </a:cubicBezTo>
                    <a:cubicBezTo>
                      <a:pt x="188" y="62"/>
                      <a:pt x="190" y="63"/>
                      <a:pt x="193" y="63"/>
                    </a:cubicBezTo>
                    <a:close/>
                    <a:moveTo>
                      <a:pt x="206" y="46"/>
                    </a:moveTo>
                    <a:cubicBezTo>
                      <a:pt x="213" y="9"/>
                      <a:pt x="213" y="9"/>
                      <a:pt x="213" y="9"/>
                    </a:cubicBezTo>
                    <a:cubicBezTo>
                      <a:pt x="213" y="9"/>
                      <a:pt x="180" y="8"/>
                      <a:pt x="164" y="15"/>
                    </a:cubicBezTo>
                    <a:cubicBezTo>
                      <a:pt x="164" y="15"/>
                      <a:pt x="124" y="31"/>
                      <a:pt x="115" y="49"/>
                    </a:cubicBezTo>
                    <a:lnTo>
                      <a:pt x="206" y="46"/>
                    </a:lnTo>
                    <a:close/>
                  </a:path>
                </a:pathLst>
              </a:custGeom>
              <a:solidFill>
                <a:srgbClr val="23C8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7" name="Freeform 170">
                <a:extLst>
                  <a:ext uri="{FF2B5EF4-FFF2-40B4-BE49-F238E27FC236}">
                    <a16:creationId xmlns:a16="http://schemas.microsoft.com/office/drawing/2014/main" id="{8B7CBCAC-0EE8-4BC6-8512-61F4EE668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68" y="1563122"/>
                <a:ext cx="53837" cy="66655"/>
              </a:xfrm>
              <a:custGeom>
                <a:avLst/>
                <a:gdLst>
                  <a:gd name="T0" fmla="*/ 2147483646 w 9"/>
                  <a:gd name="T1" fmla="*/ 2147483646 h 11"/>
                  <a:gd name="T2" fmla="*/ 2147483646 w 9"/>
                  <a:gd name="T3" fmla="*/ 2147483646 h 11"/>
                  <a:gd name="T4" fmla="*/ 2147483646 w 9"/>
                  <a:gd name="T5" fmla="*/ 0 h 11"/>
                  <a:gd name="T6" fmla="*/ 2147483646 w 9"/>
                  <a:gd name="T7" fmla="*/ 2147483646 h 1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11">
                    <a:moveTo>
                      <a:pt x="3" y="11"/>
                    </a:moveTo>
                    <a:cubicBezTo>
                      <a:pt x="9" y="11"/>
                      <a:pt x="9" y="11"/>
                      <a:pt x="9" y="11"/>
                    </a:cubicBezTo>
                    <a:cubicBezTo>
                      <a:pt x="9" y="2"/>
                      <a:pt x="3" y="0"/>
                      <a:pt x="3" y="0"/>
                    </a:cubicBezTo>
                    <a:cubicBezTo>
                      <a:pt x="0" y="6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rgbClr val="DAFF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8" name="Freeform 171">
                <a:extLst>
                  <a:ext uri="{FF2B5EF4-FFF2-40B4-BE49-F238E27FC236}">
                    <a16:creationId xmlns:a16="http://schemas.microsoft.com/office/drawing/2014/main" id="{68643CF9-03E5-4F15-9C35-E2ED45A96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59" y="1319575"/>
                <a:ext cx="194837" cy="110237"/>
              </a:xfrm>
              <a:custGeom>
                <a:avLst/>
                <a:gdLst>
                  <a:gd name="T0" fmla="*/ 0 w 32"/>
                  <a:gd name="T1" fmla="*/ 2147483646 h 18"/>
                  <a:gd name="T2" fmla="*/ 2147483646 w 32"/>
                  <a:gd name="T3" fmla="*/ 2147483646 h 18"/>
                  <a:gd name="T4" fmla="*/ 2147483646 w 32"/>
                  <a:gd name="T5" fmla="*/ 2147483646 h 18"/>
                  <a:gd name="T6" fmla="*/ 2147483646 w 32"/>
                  <a:gd name="T7" fmla="*/ 2147483646 h 18"/>
                  <a:gd name="T8" fmla="*/ 0 w 32"/>
                  <a:gd name="T9" fmla="*/ 2147483646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0" y="18"/>
                    </a:move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32" y="9"/>
                      <a:pt x="28" y="6"/>
                    </a:cubicBezTo>
                    <a:cubicBezTo>
                      <a:pt x="28" y="6"/>
                      <a:pt x="17" y="0"/>
                      <a:pt x="7" y="6"/>
                    </a:cubicBezTo>
                    <a:cubicBezTo>
                      <a:pt x="7" y="6"/>
                      <a:pt x="0" y="13"/>
                      <a:pt x="0" y="18"/>
                    </a:cubicBez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9" name="Freeform 172">
                <a:extLst>
                  <a:ext uri="{FF2B5EF4-FFF2-40B4-BE49-F238E27FC236}">
                    <a16:creationId xmlns:a16="http://schemas.microsoft.com/office/drawing/2014/main" id="{E8EC0B15-4689-4233-A1E9-DF724C9162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0671" y="1004246"/>
                <a:ext cx="722949" cy="630658"/>
              </a:xfrm>
              <a:custGeom>
                <a:avLst/>
                <a:gdLst>
                  <a:gd name="T0" fmla="*/ 2147483646 w 119"/>
                  <a:gd name="T1" fmla="*/ 2147483646 h 104"/>
                  <a:gd name="T2" fmla="*/ 2147483646 w 119"/>
                  <a:gd name="T3" fmla="*/ 2147483646 h 104"/>
                  <a:gd name="T4" fmla="*/ 2147483646 w 119"/>
                  <a:gd name="T5" fmla="*/ 2147483646 h 104"/>
                  <a:gd name="T6" fmla="*/ 2147483646 w 119"/>
                  <a:gd name="T7" fmla="*/ 0 h 104"/>
                  <a:gd name="T8" fmla="*/ 2147483646 w 119"/>
                  <a:gd name="T9" fmla="*/ 0 h 104"/>
                  <a:gd name="T10" fmla="*/ 2147483646 w 119"/>
                  <a:gd name="T11" fmla="*/ 2147483646 h 104"/>
                  <a:gd name="T12" fmla="*/ 2147483646 w 119"/>
                  <a:gd name="T13" fmla="*/ 2147483646 h 104"/>
                  <a:gd name="T14" fmla="*/ 2147483646 w 119"/>
                  <a:gd name="T15" fmla="*/ 2147483646 h 104"/>
                  <a:gd name="T16" fmla="*/ 2147483646 w 119"/>
                  <a:gd name="T17" fmla="*/ 2147483646 h 104"/>
                  <a:gd name="T18" fmla="*/ 2147483646 w 119"/>
                  <a:gd name="T19" fmla="*/ 2147483646 h 104"/>
                  <a:gd name="T20" fmla="*/ 2147483646 w 119"/>
                  <a:gd name="T21" fmla="*/ 2147483646 h 104"/>
                  <a:gd name="T22" fmla="*/ 2147483646 w 119"/>
                  <a:gd name="T23" fmla="*/ 2147483646 h 104"/>
                  <a:gd name="T24" fmla="*/ 2147483646 w 119"/>
                  <a:gd name="T25" fmla="*/ 2147483646 h 104"/>
                  <a:gd name="T26" fmla="*/ 2147483646 w 119"/>
                  <a:gd name="T27" fmla="*/ 2147483646 h 104"/>
                  <a:gd name="T28" fmla="*/ 2147483646 w 119"/>
                  <a:gd name="T29" fmla="*/ 2147483646 h 104"/>
                  <a:gd name="T30" fmla="*/ 2147483646 w 119"/>
                  <a:gd name="T31" fmla="*/ 2147483646 h 104"/>
                  <a:gd name="T32" fmla="*/ 2147483646 w 119"/>
                  <a:gd name="T33" fmla="*/ 2147483646 h 104"/>
                  <a:gd name="T34" fmla="*/ 2147483646 w 119"/>
                  <a:gd name="T35" fmla="*/ 2147483646 h 104"/>
                  <a:gd name="T36" fmla="*/ 2147483646 w 119"/>
                  <a:gd name="T37" fmla="*/ 2147483646 h 104"/>
                  <a:gd name="T38" fmla="*/ 2147483646 w 119"/>
                  <a:gd name="T39" fmla="*/ 2147483646 h 104"/>
                  <a:gd name="T40" fmla="*/ 2147483646 w 119"/>
                  <a:gd name="T41" fmla="*/ 2147483646 h 104"/>
                  <a:gd name="T42" fmla="*/ 2147483646 w 119"/>
                  <a:gd name="T43" fmla="*/ 2147483646 h 104"/>
                  <a:gd name="T44" fmla="*/ 2147483646 w 119"/>
                  <a:gd name="T45" fmla="*/ 2147483646 h 104"/>
                  <a:gd name="T46" fmla="*/ 2147483646 w 119"/>
                  <a:gd name="T47" fmla="*/ 2147483646 h 104"/>
                  <a:gd name="T48" fmla="*/ 2147483646 w 119"/>
                  <a:gd name="T49" fmla="*/ 2147483646 h 104"/>
                  <a:gd name="T50" fmla="*/ 2147483646 w 119"/>
                  <a:gd name="T51" fmla="*/ 2147483646 h 104"/>
                  <a:gd name="T52" fmla="*/ 2147483646 w 119"/>
                  <a:gd name="T53" fmla="*/ 2147483646 h 104"/>
                  <a:gd name="T54" fmla="*/ 2147483646 w 119"/>
                  <a:gd name="T55" fmla="*/ 2147483646 h 104"/>
                  <a:gd name="T56" fmla="*/ 2147483646 w 119"/>
                  <a:gd name="T57" fmla="*/ 2147483646 h 104"/>
                  <a:gd name="T58" fmla="*/ 2147483646 w 119"/>
                  <a:gd name="T59" fmla="*/ 2147483646 h 104"/>
                  <a:gd name="T60" fmla="*/ 2147483646 w 119"/>
                  <a:gd name="T61" fmla="*/ 2147483646 h 104"/>
                  <a:gd name="T62" fmla="*/ 2147483646 w 119"/>
                  <a:gd name="T63" fmla="*/ 2147483646 h 1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19" h="104">
                    <a:moveTo>
                      <a:pt x="9" y="39"/>
                    </a:moveTo>
                    <a:cubicBezTo>
                      <a:pt x="9" y="39"/>
                      <a:pt x="9" y="39"/>
                      <a:pt x="9" y="39"/>
                    </a:cubicBezTo>
                    <a:cubicBezTo>
                      <a:pt x="9" y="39"/>
                      <a:pt x="35" y="15"/>
                      <a:pt x="61" y="6"/>
                    </a:cubicBezTo>
                    <a:cubicBezTo>
                      <a:pt x="63" y="5"/>
                      <a:pt x="73" y="0"/>
                      <a:pt x="118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12" y="41"/>
                      <a:pt x="106" y="84"/>
                      <a:pt x="109" y="102"/>
                    </a:cubicBezTo>
                    <a:cubicBezTo>
                      <a:pt x="109" y="103"/>
                      <a:pt x="109" y="103"/>
                      <a:pt x="109" y="103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8" y="101"/>
                      <a:pt x="0" y="53"/>
                      <a:pt x="9" y="39"/>
                    </a:cubicBezTo>
                    <a:close/>
                    <a:moveTo>
                      <a:pt x="11" y="102"/>
                    </a:moveTo>
                    <a:cubicBezTo>
                      <a:pt x="107" y="101"/>
                      <a:pt x="107" y="101"/>
                      <a:pt x="107" y="101"/>
                    </a:cubicBezTo>
                    <a:cubicBezTo>
                      <a:pt x="104" y="82"/>
                      <a:pt x="110" y="42"/>
                      <a:pt x="110" y="40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06" y="2"/>
                      <a:pt x="97" y="3"/>
                      <a:pt x="90" y="3"/>
                    </a:cubicBezTo>
                    <a:cubicBezTo>
                      <a:pt x="89" y="3"/>
                      <a:pt x="88" y="3"/>
                      <a:pt x="87" y="3"/>
                    </a:cubicBezTo>
                    <a:cubicBezTo>
                      <a:pt x="85" y="3"/>
                      <a:pt x="82" y="4"/>
                      <a:pt x="80" y="4"/>
                    </a:cubicBezTo>
                    <a:cubicBezTo>
                      <a:pt x="78" y="4"/>
                      <a:pt x="77" y="4"/>
                      <a:pt x="76" y="5"/>
                    </a:cubicBezTo>
                    <a:cubicBezTo>
                      <a:pt x="75" y="5"/>
                      <a:pt x="75" y="5"/>
                      <a:pt x="74" y="5"/>
                    </a:cubicBezTo>
                    <a:cubicBezTo>
                      <a:pt x="74" y="5"/>
                      <a:pt x="74" y="5"/>
                      <a:pt x="74" y="5"/>
                    </a:cubicBezTo>
                    <a:cubicBezTo>
                      <a:pt x="73" y="5"/>
                      <a:pt x="72" y="5"/>
                      <a:pt x="71" y="5"/>
                    </a:cubicBezTo>
                    <a:cubicBezTo>
                      <a:pt x="71" y="5"/>
                      <a:pt x="70" y="6"/>
                      <a:pt x="70" y="6"/>
                    </a:cubicBezTo>
                    <a:cubicBezTo>
                      <a:pt x="69" y="6"/>
                      <a:pt x="68" y="6"/>
                      <a:pt x="68" y="6"/>
                    </a:cubicBezTo>
                    <a:cubicBezTo>
                      <a:pt x="67" y="6"/>
                      <a:pt x="67" y="6"/>
                      <a:pt x="66" y="7"/>
                    </a:cubicBezTo>
                    <a:cubicBezTo>
                      <a:pt x="63" y="7"/>
                      <a:pt x="62" y="8"/>
                      <a:pt x="62" y="8"/>
                    </a:cubicBezTo>
                    <a:cubicBezTo>
                      <a:pt x="62" y="8"/>
                      <a:pt x="62" y="8"/>
                      <a:pt x="62" y="8"/>
                    </a:cubicBezTo>
                    <a:cubicBezTo>
                      <a:pt x="40" y="15"/>
                      <a:pt x="19" y="33"/>
                      <a:pt x="12" y="39"/>
                    </a:cubicBezTo>
                    <a:cubicBezTo>
                      <a:pt x="12" y="39"/>
                      <a:pt x="12" y="39"/>
                      <a:pt x="12" y="40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0"/>
                      <a:pt x="11" y="41"/>
                      <a:pt x="11" y="41"/>
                    </a:cubicBezTo>
                    <a:cubicBezTo>
                      <a:pt x="3" y="53"/>
                      <a:pt x="10" y="95"/>
                      <a:pt x="11" y="102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0" name="Freeform 173">
                <a:extLst>
                  <a:ext uri="{FF2B5EF4-FFF2-40B4-BE49-F238E27FC236}">
                    <a16:creationId xmlns:a16="http://schemas.microsoft.com/office/drawing/2014/main" id="{E4C0D0B4-9689-47D6-9D48-11F846E30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3656" y="1345211"/>
                <a:ext cx="76910" cy="17946"/>
              </a:xfrm>
              <a:custGeom>
                <a:avLst/>
                <a:gdLst>
                  <a:gd name="T0" fmla="*/ 0 w 13"/>
                  <a:gd name="T1" fmla="*/ 0 h 3"/>
                  <a:gd name="T2" fmla="*/ 2147483646 w 13"/>
                  <a:gd name="T3" fmla="*/ 2147483646 h 3"/>
                  <a:gd name="T4" fmla="*/ 2147483646 w 13"/>
                  <a:gd name="T5" fmla="*/ 0 h 3"/>
                  <a:gd name="T6" fmla="*/ 0 w 13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3">
                    <a:moveTo>
                      <a:pt x="0" y="0"/>
                    </a:moveTo>
                    <a:cubicBezTo>
                      <a:pt x="1" y="2"/>
                      <a:pt x="3" y="3"/>
                      <a:pt x="6" y="3"/>
                    </a:cubicBezTo>
                    <a:cubicBezTo>
                      <a:pt x="9" y="3"/>
                      <a:pt x="12" y="2"/>
                      <a:pt x="1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1" name="Freeform 174">
                <a:extLst>
                  <a:ext uri="{FF2B5EF4-FFF2-40B4-BE49-F238E27FC236}">
                    <a16:creationId xmlns:a16="http://schemas.microsoft.com/office/drawing/2014/main" id="{2D1B5FE8-36B2-4D4F-83BD-4004746D1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3656" y="1314448"/>
                <a:ext cx="76910" cy="17946"/>
              </a:xfrm>
              <a:custGeom>
                <a:avLst/>
                <a:gdLst>
                  <a:gd name="T0" fmla="*/ 0 w 13"/>
                  <a:gd name="T1" fmla="*/ 2147483646 h 3"/>
                  <a:gd name="T2" fmla="*/ 2147483646 w 13"/>
                  <a:gd name="T3" fmla="*/ 2147483646 h 3"/>
                  <a:gd name="T4" fmla="*/ 2147483646 w 13"/>
                  <a:gd name="T5" fmla="*/ 0 h 3"/>
                  <a:gd name="T6" fmla="*/ 0 w 13"/>
                  <a:gd name="T7" fmla="*/ 2147483646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3">
                    <a:moveTo>
                      <a:pt x="0" y="3"/>
                    </a:move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9" y="0"/>
                      <a:pt x="6" y="0"/>
                    </a:cubicBezTo>
                    <a:cubicBezTo>
                      <a:pt x="4" y="0"/>
                      <a:pt x="1" y="1"/>
                      <a:pt x="0" y="3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2" name="Freeform 175">
                <a:extLst>
                  <a:ext uri="{FF2B5EF4-FFF2-40B4-BE49-F238E27FC236}">
                    <a16:creationId xmlns:a16="http://schemas.microsoft.com/office/drawing/2014/main" id="{24C59BE1-02D0-4EA7-8C2F-31226FEE29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5272" y="1027319"/>
                <a:ext cx="594767" cy="251238"/>
              </a:xfrm>
              <a:custGeom>
                <a:avLst/>
                <a:gdLst>
                  <a:gd name="T0" fmla="*/ 2147483646 w 98"/>
                  <a:gd name="T1" fmla="*/ 2147483646 h 41"/>
                  <a:gd name="T2" fmla="*/ 2147483646 w 98"/>
                  <a:gd name="T3" fmla="*/ 2147483646 h 41"/>
                  <a:gd name="T4" fmla="*/ 2147483646 w 98"/>
                  <a:gd name="T5" fmla="*/ 2147483646 h 41"/>
                  <a:gd name="T6" fmla="*/ 0 w 98"/>
                  <a:gd name="T7" fmla="*/ 2147483646 h 41"/>
                  <a:gd name="T8" fmla="*/ 2147483646 w 98"/>
                  <a:gd name="T9" fmla="*/ 2147483646 h 41"/>
                  <a:gd name="T10" fmla="*/ 2147483646 w 98"/>
                  <a:gd name="T11" fmla="*/ 2147483646 h 41"/>
                  <a:gd name="T12" fmla="*/ 2147483646 w 98"/>
                  <a:gd name="T13" fmla="*/ 2147483646 h 41"/>
                  <a:gd name="T14" fmla="*/ 2147483646 w 98"/>
                  <a:gd name="T15" fmla="*/ 2147483646 h 41"/>
                  <a:gd name="T16" fmla="*/ 2147483646 w 98"/>
                  <a:gd name="T17" fmla="*/ 2147483646 h 41"/>
                  <a:gd name="T18" fmla="*/ 2147483646 w 98"/>
                  <a:gd name="T19" fmla="*/ 2147483646 h 4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8" h="41">
                    <a:moveTo>
                      <a:pt x="49" y="7"/>
                    </a:moveTo>
                    <a:cubicBezTo>
                      <a:pt x="65" y="0"/>
                      <a:pt x="98" y="1"/>
                      <a:pt x="98" y="1"/>
                    </a:cubicBezTo>
                    <a:cubicBezTo>
                      <a:pt x="91" y="38"/>
                      <a:pt x="91" y="38"/>
                      <a:pt x="91" y="3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9" y="23"/>
                      <a:pt x="49" y="7"/>
                      <a:pt x="49" y="7"/>
                    </a:cubicBezTo>
                    <a:close/>
                    <a:moveTo>
                      <a:pt x="23" y="34"/>
                    </a:moveTo>
                    <a:cubicBezTo>
                      <a:pt x="24" y="24"/>
                      <a:pt x="19" y="25"/>
                      <a:pt x="19" y="25"/>
                    </a:cubicBezTo>
                    <a:cubicBezTo>
                      <a:pt x="15" y="27"/>
                      <a:pt x="4" y="39"/>
                      <a:pt x="4" y="39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24" y="38"/>
                      <a:pt x="23" y="34"/>
                      <a:pt x="23" y="34"/>
                    </a:cubicBezTo>
                    <a:close/>
                  </a:path>
                </a:pathLst>
              </a:custGeom>
              <a:solidFill>
                <a:srgbClr val="DAFF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3" name="Freeform 176">
                <a:extLst>
                  <a:ext uri="{FF2B5EF4-FFF2-40B4-BE49-F238E27FC236}">
                    <a16:creationId xmlns:a16="http://schemas.microsoft.com/office/drawing/2014/main" id="{AC50EAC4-047E-4EBB-9C51-91B046B213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6966" y="1004246"/>
                <a:ext cx="594767" cy="625531"/>
              </a:xfrm>
              <a:custGeom>
                <a:avLst/>
                <a:gdLst>
                  <a:gd name="T0" fmla="*/ 2147483646 w 98"/>
                  <a:gd name="T1" fmla="*/ 2147483646 h 103"/>
                  <a:gd name="T2" fmla="*/ 2147483646 w 98"/>
                  <a:gd name="T3" fmla="*/ 2147483646 h 103"/>
                  <a:gd name="T4" fmla="*/ 2147483646 w 98"/>
                  <a:gd name="T5" fmla="*/ 0 h 103"/>
                  <a:gd name="T6" fmla="*/ 2147483646 w 98"/>
                  <a:gd name="T7" fmla="*/ 0 h 103"/>
                  <a:gd name="T8" fmla="*/ 2147483646 w 98"/>
                  <a:gd name="T9" fmla="*/ 2147483646 h 103"/>
                  <a:gd name="T10" fmla="*/ 2147483646 w 98"/>
                  <a:gd name="T11" fmla="*/ 2147483646 h 103"/>
                  <a:gd name="T12" fmla="*/ 2147483646 w 98"/>
                  <a:gd name="T13" fmla="*/ 2147483646 h 103"/>
                  <a:gd name="T14" fmla="*/ 2147483646 w 98"/>
                  <a:gd name="T15" fmla="*/ 2147483646 h 103"/>
                  <a:gd name="T16" fmla="*/ 2147483646 w 98"/>
                  <a:gd name="T17" fmla="*/ 2147483646 h 103"/>
                  <a:gd name="T18" fmla="*/ 2147483646 w 98"/>
                  <a:gd name="T19" fmla="*/ 2147483646 h 103"/>
                  <a:gd name="T20" fmla="*/ 2147483646 w 98"/>
                  <a:gd name="T21" fmla="*/ 2147483646 h 103"/>
                  <a:gd name="T22" fmla="*/ 2147483646 w 98"/>
                  <a:gd name="T23" fmla="*/ 2147483646 h 103"/>
                  <a:gd name="T24" fmla="*/ 2147483646 w 98"/>
                  <a:gd name="T25" fmla="*/ 2147483646 h 103"/>
                  <a:gd name="T26" fmla="*/ 2147483646 w 98"/>
                  <a:gd name="T27" fmla="*/ 2147483646 h 103"/>
                  <a:gd name="T28" fmla="*/ 2147483646 w 98"/>
                  <a:gd name="T29" fmla="*/ 2147483646 h 103"/>
                  <a:gd name="T30" fmla="*/ 2147483646 w 98"/>
                  <a:gd name="T31" fmla="*/ 2147483646 h 103"/>
                  <a:gd name="T32" fmla="*/ 2147483646 w 98"/>
                  <a:gd name="T33" fmla="*/ 2147483646 h 103"/>
                  <a:gd name="T34" fmla="*/ 2147483646 w 98"/>
                  <a:gd name="T35" fmla="*/ 2147483646 h 103"/>
                  <a:gd name="T36" fmla="*/ 2147483646 w 98"/>
                  <a:gd name="T37" fmla="*/ 2147483646 h 103"/>
                  <a:gd name="T38" fmla="*/ 2147483646 w 98"/>
                  <a:gd name="T39" fmla="*/ 2147483646 h 103"/>
                  <a:gd name="T40" fmla="*/ 2147483646 w 98"/>
                  <a:gd name="T41" fmla="*/ 2147483646 h 103"/>
                  <a:gd name="T42" fmla="*/ 2147483646 w 98"/>
                  <a:gd name="T43" fmla="*/ 2147483646 h 103"/>
                  <a:gd name="T44" fmla="*/ 2147483646 w 98"/>
                  <a:gd name="T45" fmla="*/ 2147483646 h 103"/>
                  <a:gd name="T46" fmla="*/ 2147483646 w 98"/>
                  <a:gd name="T47" fmla="*/ 2147483646 h 103"/>
                  <a:gd name="T48" fmla="*/ 2147483646 w 98"/>
                  <a:gd name="T49" fmla="*/ 2147483646 h 103"/>
                  <a:gd name="T50" fmla="*/ 2147483646 w 98"/>
                  <a:gd name="T51" fmla="*/ 2147483646 h 10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98" h="103">
                    <a:moveTo>
                      <a:pt x="5" y="41"/>
                    </a:move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72" y="4"/>
                      <a:pt x="92" y="21"/>
                      <a:pt x="93" y="21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8" y="29"/>
                      <a:pt x="95" y="50"/>
                      <a:pt x="95" y="50"/>
                    </a:cubicBezTo>
                    <a:cubicBezTo>
                      <a:pt x="92" y="66"/>
                      <a:pt x="79" y="69"/>
                      <a:pt x="78" y="70"/>
                    </a:cubicBezTo>
                    <a:cubicBezTo>
                      <a:pt x="67" y="73"/>
                      <a:pt x="57" y="92"/>
                      <a:pt x="56" y="93"/>
                    </a:cubicBezTo>
                    <a:cubicBezTo>
                      <a:pt x="55" y="102"/>
                      <a:pt x="47" y="103"/>
                      <a:pt x="46" y="103"/>
                    </a:cubicBezTo>
                    <a:cubicBezTo>
                      <a:pt x="2" y="103"/>
                      <a:pt x="2" y="103"/>
                      <a:pt x="2" y="103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0" y="70"/>
                      <a:pt x="5" y="41"/>
                      <a:pt x="5" y="41"/>
                    </a:cubicBezTo>
                    <a:close/>
                    <a:moveTo>
                      <a:pt x="4" y="100"/>
                    </a:moveTo>
                    <a:cubicBezTo>
                      <a:pt x="46" y="100"/>
                      <a:pt x="46" y="100"/>
                      <a:pt x="46" y="100"/>
                    </a:cubicBezTo>
                    <a:cubicBezTo>
                      <a:pt x="47" y="100"/>
                      <a:pt x="53" y="100"/>
                      <a:pt x="54" y="93"/>
                    </a:cubicBezTo>
                    <a:cubicBezTo>
                      <a:pt x="54" y="92"/>
                      <a:pt x="54" y="92"/>
                      <a:pt x="54" y="92"/>
                    </a:cubicBezTo>
                    <a:cubicBezTo>
                      <a:pt x="55" y="92"/>
                      <a:pt x="65" y="71"/>
                      <a:pt x="77" y="68"/>
                    </a:cubicBezTo>
                    <a:cubicBezTo>
                      <a:pt x="77" y="68"/>
                      <a:pt x="77" y="68"/>
                      <a:pt x="77" y="68"/>
                    </a:cubicBezTo>
                    <a:cubicBezTo>
                      <a:pt x="78" y="67"/>
                      <a:pt x="90" y="65"/>
                      <a:pt x="92" y="50"/>
                    </a:cubicBezTo>
                    <a:cubicBezTo>
                      <a:pt x="92" y="50"/>
                      <a:pt x="95" y="30"/>
                      <a:pt x="91" y="23"/>
                    </a:cubicBezTo>
                    <a:cubicBezTo>
                      <a:pt x="89" y="21"/>
                      <a:pt x="70" y="6"/>
                      <a:pt x="47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7" y="42"/>
                      <a:pt x="2" y="70"/>
                      <a:pt x="4" y="100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4" name="Freeform 177">
                <a:extLst>
                  <a:ext uri="{FF2B5EF4-FFF2-40B4-BE49-F238E27FC236}">
                    <a16:creationId xmlns:a16="http://schemas.microsoft.com/office/drawing/2014/main" id="{C8BD0D12-6329-4B3F-B610-5CCD6E3CE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968" y="1283684"/>
                <a:ext cx="79473" cy="17946"/>
              </a:xfrm>
              <a:custGeom>
                <a:avLst/>
                <a:gdLst>
                  <a:gd name="T0" fmla="*/ 0 w 13"/>
                  <a:gd name="T1" fmla="*/ 2147483646 h 3"/>
                  <a:gd name="T2" fmla="*/ 2147483646 w 13"/>
                  <a:gd name="T3" fmla="*/ 2147483646 h 3"/>
                  <a:gd name="T4" fmla="*/ 2147483646 w 13"/>
                  <a:gd name="T5" fmla="*/ 0 h 3"/>
                  <a:gd name="T6" fmla="*/ 0 w 13"/>
                  <a:gd name="T7" fmla="*/ 2147483646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3">
                    <a:moveTo>
                      <a:pt x="0" y="3"/>
                    </a:move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10" y="0"/>
                      <a:pt x="7" y="0"/>
                    </a:cubicBezTo>
                    <a:cubicBezTo>
                      <a:pt x="4" y="0"/>
                      <a:pt x="1" y="1"/>
                      <a:pt x="0" y="3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5" name="Freeform 178">
                <a:extLst>
                  <a:ext uri="{FF2B5EF4-FFF2-40B4-BE49-F238E27FC236}">
                    <a16:creationId xmlns:a16="http://schemas.microsoft.com/office/drawing/2014/main" id="{46C29C82-2912-4D05-B0C0-A8C5CA3C7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7659" y="1314448"/>
                <a:ext cx="71782" cy="17946"/>
              </a:xfrm>
              <a:custGeom>
                <a:avLst/>
                <a:gdLst>
                  <a:gd name="T0" fmla="*/ 0 w 12"/>
                  <a:gd name="T1" fmla="*/ 0 h 3"/>
                  <a:gd name="T2" fmla="*/ 2147483646 w 12"/>
                  <a:gd name="T3" fmla="*/ 2147483646 h 3"/>
                  <a:gd name="T4" fmla="*/ 2147483646 w 12"/>
                  <a:gd name="T5" fmla="*/ 0 h 3"/>
                  <a:gd name="T6" fmla="*/ 0 w 1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2" h="3">
                    <a:moveTo>
                      <a:pt x="0" y="0"/>
                    </a:moveTo>
                    <a:cubicBezTo>
                      <a:pt x="1" y="2"/>
                      <a:pt x="3" y="3"/>
                      <a:pt x="6" y="3"/>
                    </a:cubicBezTo>
                    <a:cubicBezTo>
                      <a:pt x="9" y="3"/>
                      <a:pt x="11" y="2"/>
                      <a:pt x="1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6" name="Freeform 179">
                <a:extLst>
                  <a:ext uri="{FF2B5EF4-FFF2-40B4-BE49-F238E27FC236}">
                    <a16:creationId xmlns:a16="http://schemas.microsoft.com/office/drawing/2014/main" id="{B444DE82-90F6-4354-9537-EE649FEDC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748" y="1035010"/>
                <a:ext cx="479403" cy="225601"/>
              </a:xfrm>
              <a:custGeom>
                <a:avLst/>
                <a:gdLst>
                  <a:gd name="T0" fmla="*/ 0 w 79"/>
                  <a:gd name="T1" fmla="*/ 2147483646 h 37"/>
                  <a:gd name="T2" fmla="*/ 2147483646 w 79"/>
                  <a:gd name="T3" fmla="*/ 2147483646 h 37"/>
                  <a:gd name="T4" fmla="*/ 2147483646 w 79"/>
                  <a:gd name="T5" fmla="*/ 2147483646 h 37"/>
                  <a:gd name="T6" fmla="*/ 2147483646 w 79"/>
                  <a:gd name="T7" fmla="*/ 0 h 37"/>
                  <a:gd name="T8" fmla="*/ 2147483646 w 79"/>
                  <a:gd name="T9" fmla="*/ 0 h 37"/>
                  <a:gd name="T10" fmla="*/ 0 w 79"/>
                  <a:gd name="T11" fmla="*/ 214748364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9" h="37">
                    <a:moveTo>
                      <a:pt x="0" y="37"/>
                    </a:moveTo>
                    <a:cubicBezTo>
                      <a:pt x="77" y="34"/>
                      <a:pt x="77" y="34"/>
                      <a:pt x="77" y="34"/>
                    </a:cubicBezTo>
                    <a:cubicBezTo>
                      <a:pt x="77" y="34"/>
                      <a:pt x="79" y="26"/>
                      <a:pt x="74" y="22"/>
                    </a:cubicBezTo>
                    <a:cubicBezTo>
                      <a:pt x="74" y="22"/>
                      <a:pt x="51" y="1"/>
                      <a:pt x="28" y="0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DAFF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7" name="Freeform 180">
                <a:extLst>
                  <a:ext uri="{FF2B5EF4-FFF2-40B4-BE49-F238E27FC236}">
                    <a16:creationId xmlns:a16="http://schemas.microsoft.com/office/drawing/2014/main" id="{025B27B5-0907-4C64-80E3-A6FAEC69B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1425" y="1204211"/>
                <a:ext cx="110237" cy="151255"/>
              </a:xfrm>
              <a:custGeom>
                <a:avLst/>
                <a:gdLst>
                  <a:gd name="T0" fmla="*/ 0 w 18"/>
                  <a:gd name="T1" fmla="*/ 2147483646 h 25"/>
                  <a:gd name="T2" fmla="*/ 2147483646 w 18"/>
                  <a:gd name="T3" fmla="*/ 2147483646 h 25"/>
                  <a:gd name="T4" fmla="*/ 2147483646 w 18"/>
                  <a:gd name="T5" fmla="*/ 2147483646 h 25"/>
                  <a:gd name="T6" fmla="*/ 2147483646 w 18"/>
                  <a:gd name="T7" fmla="*/ 0 h 25"/>
                  <a:gd name="T8" fmla="*/ 2147483646 w 18"/>
                  <a:gd name="T9" fmla="*/ 0 h 25"/>
                  <a:gd name="T10" fmla="*/ 0 w 18"/>
                  <a:gd name="T11" fmla="*/ 2147483646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25">
                    <a:moveTo>
                      <a:pt x="0" y="25"/>
                    </a:moveTo>
                    <a:cubicBezTo>
                      <a:pt x="18" y="25"/>
                      <a:pt x="18" y="25"/>
                      <a:pt x="18" y="25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2"/>
                      <a:pt x="15" y="0"/>
                      <a:pt x="15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8" name="Freeform 181">
                <a:extLst>
                  <a:ext uri="{FF2B5EF4-FFF2-40B4-BE49-F238E27FC236}">
                    <a16:creationId xmlns:a16="http://schemas.microsoft.com/office/drawing/2014/main" id="{D9D14E4D-4178-4920-8121-08ECA82811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" y="1483649"/>
                <a:ext cx="323020" cy="323020"/>
              </a:xfrm>
              <a:custGeom>
                <a:avLst/>
                <a:gdLst>
                  <a:gd name="T0" fmla="*/ 2147483646 w 53"/>
                  <a:gd name="T1" fmla="*/ 2147483646 h 53"/>
                  <a:gd name="T2" fmla="*/ 2147483646 w 53"/>
                  <a:gd name="T3" fmla="*/ 0 h 53"/>
                  <a:gd name="T4" fmla="*/ 2147483646 w 53"/>
                  <a:gd name="T5" fmla="*/ 2147483646 h 53"/>
                  <a:gd name="T6" fmla="*/ 2147483646 w 53"/>
                  <a:gd name="T7" fmla="*/ 2147483646 h 53"/>
                  <a:gd name="T8" fmla="*/ 2147483646 w 53"/>
                  <a:gd name="T9" fmla="*/ 2147483646 h 53"/>
                  <a:gd name="T10" fmla="*/ 2147483646 w 53"/>
                  <a:gd name="T11" fmla="*/ 2147483646 h 53"/>
                  <a:gd name="T12" fmla="*/ 2147483646 w 53"/>
                  <a:gd name="T13" fmla="*/ 2147483646 h 53"/>
                  <a:gd name="T14" fmla="*/ 0 w 53"/>
                  <a:gd name="T15" fmla="*/ 2147483646 h 53"/>
                  <a:gd name="T16" fmla="*/ 2147483646 w 53"/>
                  <a:gd name="T17" fmla="*/ 2147483646 h 53"/>
                  <a:gd name="T18" fmla="*/ 2147483646 w 53"/>
                  <a:gd name="T19" fmla="*/ 2147483646 h 53"/>
                  <a:gd name="T20" fmla="*/ 2147483646 w 53"/>
                  <a:gd name="T21" fmla="*/ 2147483646 h 53"/>
                  <a:gd name="T22" fmla="*/ 2147483646 w 53"/>
                  <a:gd name="T23" fmla="*/ 2147483646 h 53"/>
                  <a:gd name="T24" fmla="*/ 2147483646 w 53"/>
                  <a:gd name="T25" fmla="*/ 2147483646 h 53"/>
                  <a:gd name="T26" fmla="*/ 2147483646 w 53"/>
                  <a:gd name="T27" fmla="*/ 2147483646 h 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53">
                    <a:moveTo>
                      <a:pt x="9" y="6"/>
                    </a:moveTo>
                    <a:cubicBezTo>
                      <a:pt x="14" y="2"/>
                      <a:pt x="20" y="0"/>
                      <a:pt x="26" y="0"/>
                    </a:cubicBezTo>
                    <a:cubicBezTo>
                      <a:pt x="33" y="0"/>
                      <a:pt x="39" y="2"/>
                      <a:pt x="43" y="6"/>
                    </a:cubicBezTo>
                    <a:cubicBezTo>
                      <a:pt x="46" y="8"/>
                      <a:pt x="48" y="10"/>
                      <a:pt x="49" y="13"/>
                    </a:cubicBezTo>
                    <a:cubicBezTo>
                      <a:pt x="52" y="17"/>
                      <a:pt x="53" y="21"/>
                      <a:pt x="53" y="27"/>
                    </a:cubicBezTo>
                    <a:cubicBezTo>
                      <a:pt x="53" y="32"/>
                      <a:pt x="52" y="37"/>
                      <a:pt x="49" y="41"/>
                    </a:cubicBezTo>
                    <a:cubicBezTo>
                      <a:pt x="45" y="48"/>
                      <a:pt x="36" y="53"/>
                      <a:pt x="26" y="53"/>
                    </a:cubicBezTo>
                    <a:cubicBezTo>
                      <a:pt x="12" y="53"/>
                      <a:pt x="0" y="41"/>
                      <a:pt x="0" y="27"/>
                    </a:cubicBezTo>
                    <a:cubicBezTo>
                      <a:pt x="0" y="18"/>
                      <a:pt x="3" y="11"/>
                      <a:pt x="9" y="6"/>
                    </a:cubicBezTo>
                    <a:close/>
                    <a:moveTo>
                      <a:pt x="26" y="47"/>
                    </a:moveTo>
                    <a:cubicBezTo>
                      <a:pt x="38" y="47"/>
                      <a:pt x="47" y="38"/>
                      <a:pt x="47" y="27"/>
                    </a:cubicBezTo>
                    <a:cubicBezTo>
                      <a:pt x="47" y="15"/>
                      <a:pt x="38" y="6"/>
                      <a:pt x="26" y="6"/>
                    </a:cubicBezTo>
                    <a:cubicBezTo>
                      <a:pt x="15" y="6"/>
                      <a:pt x="6" y="15"/>
                      <a:pt x="6" y="27"/>
                    </a:cubicBezTo>
                    <a:cubicBezTo>
                      <a:pt x="6" y="38"/>
                      <a:pt x="15" y="47"/>
                      <a:pt x="26" y="47"/>
                    </a:cubicBezTo>
                    <a:close/>
                  </a:path>
                </a:pathLst>
              </a:custGeom>
              <a:solidFill>
                <a:srgbClr val="2134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9" name="Freeform 182">
                <a:extLst>
                  <a:ext uri="{FF2B5EF4-FFF2-40B4-BE49-F238E27FC236}">
                    <a16:creationId xmlns:a16="http://schemas.microsoft.com/office/drawing/2014/main" id="{365DBB22-8EE9-47A0-870A-3825B8E4AF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161" y="1519540"/>
                <a:ext cx="248674" cy="251238"/>
              </a:xfrm>
              <a:custGeom>
                <a:avLst/>
                <a:gdLst>
                  <a:gd name="T0" fmla="*/ 2147483646 w 41"/>
                  <a:gd name="T1" fmla="*/ 0 h 41"/>
                  <a:gd name="T2" fmla="*/ 2147483646 w 41"/>
                  <a:gd name="T3" fmla="*/ 2147483646 h 41"/>
                  <a:gd name="T4" fmla="*/ 2147483646 w 41"/>
                  <a:gd name="T5" fmla="*/ 2147483646 h 41"/>
                  <a:gd name="T6" fmla="*/ 0 w 41"/>
                  <a:gd name="T7" fmla="*/ 2147483646 h 41"/>
                  <a:gd name="T8" fmla="*/ 2147483646 w 41"/>
                  <a:gd name="T9" fmla="*/ 0 h 41"/>
                  <a:gd name="T10" fmla="*/ 2147483646 w 41"/>
                  <a:gd name="T11" fmla="*/ 2147483646 h 41"/>
                  <a:gd name="T12" fmla="*/ 2147483646 w 41"/>
                  <a:gd name="T13" fmla="*/ 2147483646 h 41"/>
                  <a:gd name="T14" fmla="*/ 2147483646 w 41"/>
                  <a:gd name="T15" fmla="*/ 2147483646 h 41"/>
                  <a:gd name="T16" fmla="*/ 2147483646 w 41"/>
                  <a:gd name="T17" fmla="*/ 2147483646 h 41"/>
                  <a:gd name="T18" fmla="*/ 2147483646 w 41"/>
                  <a:gd name="T19" fmla="*/ 2147483646 h 4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1">
                    <a:moveTo>
                      <a:pt x="20" y="0"/>
                    </a:moveTo>
                    <a:cubicBezTo>
                      <a:pt x="32" y="0"/>
                      <a:pt x="41" y="9"/>
                      <a:pt x="41" y="21"/>
                    </a:cubicBezTo>
                    <a:cubicBezTo>
                      <a:pt x="41" y="32"/>
                      <a:pt x="32" y="41"/>
                      <a:pt x="20" y="41"/>
                    </a:cubicBezTo>
                    <a:cubicBezTo>
                      <a:pt x="9" y="41"/>
                      <a:pt x="0" y="32"/>
                      <a:pt x="0" y="21"/>
                    </a:cubicBezTo>
                    <a:cubicBezTo>
                      <a:pt x="0" y="9"/>
                      <a:pt x="9" y="0"/>
                      <a:pt x="20" y="0"/>
                    </a:cubicBezTo>
                    <a:close/>
                    <a:moveTo>
                      <a:pt x="20" y="39"/>
                    </a:moveTo>
                    <a:cubicBezTo>
                      <a:pt x="30" y="40"/>
                      <a:pt x="39" y="32"/>
                      <a:pt x="39" y="21"/>
                    </a:cubicBezTo>
                    <a:cubicBezTo>
                      <a:pt x="40" y="11"/>
                      <a:pt x="32" y="2"/>
                      <a:pt x="21" y="2"/>
                    </a:cubicBezTo>
                    <a:cubicBezTo>
                      <a:pt x="11" y="1"/>
                      <a:pt x="2" y="9"/>
                      <a:pt x="2" y="20"/>
                    </a:cubicBezTo>
                    <a:cubicBezTo>
                      <a:pt x="1" y="30"/>
                      <a:pt x="9" y="39"/>
                      <a:pt x="20" y="39"/>
                    </a:cubicBezTo>
                    <a:close/>
                  </a:path>
                </a:pathLst>
              </a:custGeom>
              <a:solidFill>
                <a:srgbClr val="2C45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0" name="Freeform 183">
                <a:extLst>
                  <a:ext uri="{FF2B5EF4-FFF2-40B4-BE49-F238E27FC236}">
                    <a16:creationId xmlns:a16="http://schemas.microsoft.com/office/drawing/2014/main" id="{711C4F2D-DCF8-402C-8FC6-FB50A334F1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3288" y="1527231"/>
                <a:ext cx="235856" cy="235856"/>
              </a:xfrm>
              <a:custGeom>
                <a:avLst/>
                <a:gdLst>
                  <a:gd name="T0" fmla="*/ 2147483646 w 39"/>
                  <a:gd name="T1" fmla="*/ 2147483646 h 39"/>
                  <a:gd name="T2" fmla="*/ 2147483646 w 39"/>
                  <a:gd name="T3" fmla="*/ 2147483646 h 39"/>
                  <a:gd name="T4" fmla="*/ 2147483646 w 39"/>
                  <a:gd name="T5" fmla="*/ 2147483646 h 39"/>
                  <a:gd name="T6" fmla="*/ 2147483646 w 39"/>
                  <a:gd name="T7" fmla="*/ 2147483646 h 39"/>
                  <a:gd name="T8" fmla="*/ 2147483646 w 39"/>
                  <a:gd name="T9" fmla="*/ 2147483646 h 39"/>
                  <a:gd name="T10" fmla="*/ 2147483646 w 39"/>
                  <a:gd name="T11" fmla="*/ 2147483646 h 39"/>
                  <a:gd name="T12" fmla="*/ 2147483646 w 39"/>
                  <a:gd name="T13" fmla="*/ 2147483646 h 39"/>
                  <a:gd name="T14" fmla="*/ 2147483646 w 39"/>
                  <a:gd name="T15" fmla="*/ 2147483646 h 39"/>
                  <a:gd name="T16" fmla="*/ 2147483646 w 39"/>
                  <a:gd name="T17" fmla="*/ 2147483646 h 39"/>
                  <a:gd name="T18" fmla="*/ 2147483646 w 39"/>
                  <a:gd name="T19" fmla="*/ 2147483646 h 39"/>
                  <a:gd name="T20" fmla="*/ 2147483646 w 39"/>
                  <a:gd name="T21" fmla="*/ 2147483646 h 39"/>
                  <a:gd name="T22" fmla="*/ 2147483646 w 39"/>
                  <a:gd name="T23" fmla="*/ 2147483646 h 39"/>
                  <a:gd name="T24" fmla="*/ 2147483646 w 39"/>
                  <a:gd name="T25" fmla="*/ 2147483646 h 39"/>
                  <a:gd name="T26" fmla="*/ 2147483646 w 39"/>
                  <a:gd name="T27" fmla="*/ 2147483646 h 39"/>
                  <a:gd name="T28" fmla="*/ 2147483646 w 39"/>
                  <a:gd name="T29" fmla="*/ 2147483646 h 39"/>
                  <a:gd name="T30" fmla="*/ 2147483646 w 39"/>
                  <a:gd name="T31" fmla="*/ 2147483646 h 39"/>
                  <a:gd name="T32" fmla="*/ 2147483646 w 39"/>
                  <a:gd name="T33" fmla="*/ 2147483646 h 39"/>
                  <a:gd name="T34" fmla="*/ 2147483646 w 39"/>
                  <a:gd name="T35" fmla="*/ 2147483646 h 39"/>
                  <a:gd name="T36" fmla="*/ 2147483646 w 39"/>
                  <a:gd name="T37" fmla="*/ 2147483646 h 39"/>
                  <a:gd name="T38" fmla="*/ 2147483646 w 39"/>
                  <a:gd name="T39" fmla="*/ 2147483646 h 39"/>
                  <a:gd name="T40" fmla="*/ 2147483646 w 39"/>
                  <a:gd name="T41" fmla="*/ 2147483646 h 39"/>
                  <a:gd name="T42" fmla="*/ 2147483646 w 39"/>
                  <a:gd name="T43" fmla="*/ 2147483646 h 39"/>
                  <a:gd name="T44" fmla="*/ 2147483646 w 39"/>
                  <a:gd name="T45" fmla="*/ 2147483646 h 39"/>
                  <a:gd name="T46" fmla="*/ 2147483646 w 39"/>
                  <a:gd name="T47" fmla="*/ 2147483646 h 39"/>
                  <a:gd name="T48" fmla="*/ 2147483646 w 39"/>
                  <a:gd name="T49" fmla="*/ 2147483646 h 39"/>
                  <a:gd name="T50" fmla="*/ 2147483646 w 39"/>
                  <a:gd name="T51" fmla="*/ 2147483646 h 39"/>
                  <a:gd name="T52" fmla="*/ 2147483646 w 39"/>
                  <a:gd name="T53" fmla="*/ 2147483646 h 39"/>
                  <a:gd name="T54" fmla="*/ 2147483646 w 39"/>
                  <a:gd name="T55" fmla="*/ 2147483646 h 39"/>
                  <a:gd name="T56" fmla="*/ 2147483646 w 39"/>
                  <a:gd name="T57" fmla="*/ 2147483646 h 39"/>
                  <a:gd name="T58" fmla="*/ 2147483646 w 39"/>
                  <a:gd name="T59" fmla="*/ 2147483646 h 39"/>
                  <a:gd name="T60" fmla="*/ 2147483646 w 39"/>
                  <a:gd name="T61" fmla="*/ 2147483646 h 39"/>
                  <a:gd name="T62" fmla="*/ 2147483646 w 39"/>
                  <a:gd name="T63" fmla="*/ 2147483646 h 39"/>
                  <a:gd name="T64" fmla="*/ 2147483646 w 39"/>
                  <a:gd name="T65" fmla="*/ 2147483646 h 39"/>
                  <a:gd name="T66" fmla="*/ 2147483646 w 39"/>
                  <a:gd name="T67" fmla="*/ 2147483646 h 39"/>
                  <a:gd name="T68" fmla="*/ 2147483646 w 39"/>
                  <a:gd name="T69" fmla="*/ 2147483646 h 39"/>
                  <a:gd name="T70" fmla="*/ 2147483646 w 39"/>
                  <a:gd name="T71" fmla="*/ 2147483646 h 39"/>
                  <a:gd name="T72" fmla="*/ 2147483646 w 39"/>
                  <a:gd name="T73" fmla="*/ 2147483646 h 39"/>
                  <a:gd name="T74" fmla="*/ 2147483646 w 39"/>
                  <a:gd name="T75" fmla="*/ 2147483646 h 39"/>
                  <a:gd name="T76" fmla="*/ 2147483646 w 39"/>
                  <a:gd name="T77" fmla="*/ 2147483646 h 39"/>
                  <a:gd name="T78" fmla="*/ 2147483646 w 39"/>
                  <a:gd name="T79" fmla="*/ 2147483646 h 39"/>
                  <a:gd name="T80" fmla="*/ 2147483646 w 39"/>
                  <a:gd name="T81" fmla="*/ 2147483646 h 39"/>
                  <a:gd name="T82" fmla="*/ 2147483646 w 39"/>
                  <a:gd name="T83" fmla="*/ 2147483646 h 39"/>
                  <a:gd name="T84" fmla="*/ 2147483646 w 39"/>
                  <a:gd name="T85" fmla="*/ 2147483646 h 39"/>
                  <a:gd name="T86" fmla="*/ 2147483646 w 39"/>
                  <a:gd name="T87" fmla="*/ 2147483646 h 3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39" h="39">
                    <a:moveTo>
                      <a:pt x="20" y="1"/>
                    </a:moveTo>
                    <a:cubicBezTo>
                      <a:pt x="31" y="1"/>
                      <a:pt x="39" y="10"/>
                      <a:pt x="38" y="20"/>
                    </a:cubicBezTo>
                    <a:cubicBezTo>
                      <a:pt x="38" y="31"/>
                      <a:pt x="29" y="39"/>
                      <a:pt x="19" y="38"/>
                    </a:cubicBezTo>
                    <a:cubicBezTo>
                      <a:pt x="8" y="38"/>
                      <a:pt x="0" y="29"/>
                      <a:pt x="1" y="19"/>
                    </a:cubicBezTo>
                    <a:cubicBezTo>
                      <a:pt x="1" y="8"/>
                      <a:pt x="10" y="0"/>
                      <a:pt x="20" y="1"/>
                    </a:cubicBezTo>
                    <a:close/>
                    <a:moveTo>
                      <a:pt x="2" y="16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2" y="15"/>
                      <a:pt x="2" y="16"/>
                    </a:cubicBezTo>
                    <a:close/>
                    <a:moveTo>
                      <a:pt x="4" y="11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0" y="4"/>
                      <a:pt x="6" y="7"/>
                      <a:pt x="4" y="11"/>
                    </a:cubicBezTo>
                    <a:close/>
                    <a:moveTo>
                      <a:pt x="17" y="18"/>
                    </a:move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8"/>
                      <a:pt x="17" y="18"/>
                      <a:pt x="17" y="18"/>
                    </a:cubicBezTo>
                    <a:close/>
                    <a:moveTo>
                      <a:pt x="17" y="23"/>
                    </a:moveTo>
                    <a:cubicBezTo>
                      <a:pt x="17" y="23"/>
                      <a:pt x="18" y="23"/>
                      <a:pt x="18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1"/>
                      <a:pt x="17" y="21"/>
                      <a:pt x="17" y="22"/>
                    </a:cubicBezTo>
                    <a:cubicBezTo>
                      <a:pt x="17" y="22"/>
                      <a:pt x="17" y="23"/>
                      <a:pt x="17" y="23"/>
                    </a:cubicBezTo>
                    <a:close/>
                    <a:moveTo>
                      <a:pt x="20" y="2"/>
                    </a:moveTo>
                    <a:cubicBezTo>
                      <a:pt x="19" y="2"/>
                      <a:pt x="18" y="2"/>
                      <a:pt x="18" y="2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0" y="2"/>
                    </a:lnTo>
                    <a:close/>
                    <a:moveTo>
                      <a:pt x="19" y="16"/>
                    </a:moveTo>
                    <a:cubicBezTo>
                      <a:pt x="19" y="17"/>
                      <a:pt x="19" y="17"/>
                      <a:pt x="19" y="17"/>
                    </a:cubicBezTo>
                    <a:cubicBezTo>
                      <a:pt x="20" y="17"/>
                      <a:pt x="20" y="17"/>
                      <a:pt x="20" y="16"/>
                    </a:cubicBezTo>
                    <a:cubicBezTo>
                      <a:pt x="20" y="16"/>
                      <a:pt x="20" y="16"/>
                      <a:pt x="19" y="16"/>
                    </a:cubicBezTo>
                    <a:cubicBezTo>
                      <a:pt x="19" y="16"/>
                      <a:pt x="19" y="16"/>
                      <a:pt x="19" y="16"/>
                    </a:cubicBezTo>
                    <a:close/>
                    <a:moveTo>
                      <a:pt x="19" y="17"/>
                    </a:moveTo>
                    <a:cubicBezTo>
                      <a:pt x="18" y="17"/>
                      <a:pt x="17" y="18"/>
                      <a:pt x="17" y="20"/>
                    </a:cubicBezTo>
                    <a:cubicBezTo>
                      <a:pt x="17" y="21"/>
                      <a:pt x="18" y="22"/>
                      <a:pt x="19" y="22"/>
                    </a:cubicBezTo>
                    <a:cubicBezTo>
                      <a:pt x="21" y="22"/>
                      <a:pt x="22" y="21"/>
                      <a:pt x="22" y="20"/>
                    </a:cubicBezTo>
                    <a:cubicBezTo>
                      <a:pt x="22" y="18"/>
                      <a:pt x="21" y="17"/>
                      <a:pt x="19" y="17"/>
                    </a:cubicBezTo>
                    <a:close/>
                    <a:moveTo>
                      <a:pt x="21" y="23"/>
                    </a:moveTo>
                    <a:cubicBezTo>
                      <a:pt x="21" y="23"/>
                      <a:pt x="21" y="23"/>
                      <a:pt x="22" y="23"/>
                    </a:cubicBezTo>
                    <a:cubicBezTo>
                      <a:pt x="22" y="23"/>
                      <a:pt x="22" y="22"/>
                      <a:pt x="22" y="22"/>
                    </a:cubicBezTo>
                    <a:cubicBezTo>
                      <a:pt x="22" y="21"/>
                      <a:pt x="21" y="21"/>
                      <a:pt x="21" y="22"/>
                    </a:cubicBezTo>
                    <a:cubicBezTo>
                      <a:pt x="21" y="22"/>
                      <a:pt x="21" y="22"/>
                      <a:pt x="21" y="23"/>
                    </a:cubicBezTo>
                    <a:close/>
                    <a:moveTo>
                      <a:pt x="22" y="19"/>
                    </a:moveTo>
                    <a:cubicBezTo>
                      <a:pt x="22" y="19"/>
                      <a:pt x="22" y="19"/>
                      <a:pt x="23" y="19"/>
                    </a:cubicBezTo>
                    <a:cubicBezTo>
                      <a:pt x="23" y="19"/>
                      <a:pt x="23" y="19"/>
                      <a:pt x="23" y="18"/>
                    </a:cubicBezTo>
                    <a:cubicBezTo>
                      <a:pt x="23" y="18"/>
                      <a:pt x="23" y="18"/>
                      <a:pt x="22" y="18"/>
                    </a:cubicBezTo>
                    <a:cubicBezTo>
                      <a:pt x="22" y="18"/>
                      <a:pt x="22" y="18"/>
                      <a:pt x="22" y="19"/>
                    </a:cubicBezTo>
                    <a:close/>
                    <a:moveTo>
                      <a:pt x="23" y="2"/>
                    </a:moveTo>
                    <a:cubicBezTo>
                      <a:pt x="23" y="11"/>
                      <a:pt x="23" y="11"/>
                      <a:pt x="23" y="11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2" y="6"/>
                      <a:pt x="28" y="3"/>
                      <a:pt x="23" y="2"/>
                    </a:cubicBezTo>
                    <a:close/>
                    <a:moveTo>
                      <a:pt x="36" y="12"/>
                    </a:moveTo>
                    <a:cubicBezTo>
                      <a:pt x="24" y="16"/>
                      <a:pt x="24" y="16"/>
                      <a:pt x="24" y="16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6" y="14"/>
                      <a:pt x="36" y="12"/>
                      <a:pt x="36" y="12"/>
                    </a:cubicBezTo>
                    <a:close/>
                    <a:moveTo>
                      <a:pt x="33" y="31"/>
                    </a:moveTo>
                    <a:cubicBezTo>
                      <a:pt x="35" y="28"/>
                      <a:pt x="37" y="24"/>
                      <a:pt x="37" y="20"/>
                    </a:cubicBezTo>
                    <a:cubicBezTo>
                      <a:pt x="37" y="19"/>
                      <a:pt x="37" y="18"/>
                      <a:pt x="37" y="17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3"/>
                      <a:pt x="28" y="23"/>
                      <a:pt x="28" y="23"/>
                    </a:cubicBezTo>
                    <a:lnTo>
                      <a:pt x="33" y="31"/>
                    </a:lnTo>
                    <a:close/>
                    <a:moveTo>
                      <a:pt x="31" y="33"/>
                    </a:moveTo>
                    <a:cubicBezTo>
                      <a:pt x="25" y="23"/>
                      <a:pt x="25" y="23"/>
                      <a:pt x="25" y="23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30" y="34"/>
                      <a:pt x="30" y="34"/>
                      <a:pt x="30" y="34"/>
                    </a:cubicBezTo>
                    <a:cubicBezTo>
                      <a:pt x="30" y="34"/>
                      <a:pt x="31" y="33"/>
                      <a:pt x="31" y="33"/>
                    </a:cubicBezTo>
                    <a:close/>
                    <a:moveTo>
                      <a:pt x="19" y="37"/>
                    </a:moveTo>
                    <a:cubicBezTo>
                      <a:pt x="22" y="37"/>
                      <a:pt x="25" y="37"/>
                      <a:pt x="27" y="35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4" y="37"/>
                      <a:pt x="17" y="37"/>
                      <a:pt x="19" y="37"/>
                    </a:cubicBezTo>
                    <a:close/>
                    <a:moveTo>
                      <a:pt x="11" y="35"/>
                    </a:moveTo>
                    <a:cubicBezTo>
                      <a:pt x="18" y="25"/>
                      <a:pt x="18" y="25"/>
                      <a:pt x="18" y="25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4"/>
                      <a:pt x="10" y="34"/>
                      <a:pt x="11" y="35"/>
                    </a:cubicBezTo>
                    <a:close/>
                    <a:moveTo>
                      <a:pt x="7" y="32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2" y="19"/>
                      <a:pt x="2" y="19"/>
                    </a:cubicBezTo>
                    <a:cubicBezTo>
                      <a:pt x="2" y="24"/>
                      <a:pt x="4" y="28"/>
                      <a:pt x="7" y="32"/>
                    </a:cubicBez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1" name="Oval 184">
                <a:extLst>
                  <a:ext uri="{FF2B5EF4-FFF2-40B4-BE49-F238E27FC236}">
                    <a16:creationId xmlns:a16="http://schemas.microsoft.com/office/drawing/2014/main" id="{98665192-2FC4-481D-8793-F5CF1695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652" y="1624649"/>
                <a:ext cx="5127" cy="5127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2" name="Freeform 185">
                <a:extLst>
                  <a:ext uri="{FF2B5EF4-FFF2-40B4-BE49-F238E27FC236}">
                    <a16:creationId xmlns:a16="http://schemas.microsoft.com/office/drawing/2014/main" id="{A082BE14-EC31-44B9-9537-3579787ED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707" y="1634904"/>
                <a:ext cx="5127" cy="769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2147483646 h 1"/>
                  <a:gd name="T4" fmla="*/ 2147483646 w 1"/>
                  <a:gd name="T5" fmla="*/ 2147483646 h 1"/>
                  <a:gd name="T6" fmla="*/ 2147483646 w 1"/>
                  <a:gd name="T7" fmla="*/ 0 h 1"/>
                  <a:gd name="T8" fmla="*/ 0 w 1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3" name="Freeform 186">
                <a:extLst>
                  <a:ext uri="{FF2B5EF4-FFF2-40B4-BE49-F238E27FC236}">
                    <a16:creationId xmlns:a16="http://schemas.microsoft.com/office/drawing/2014/main" id="{7B77FBE8-FC58-4EA8-AA8F-DF8F77907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834" y="1655413"/>
                <a:ext cx="7691" cy="10255"/>
              </a:xfrm>
              <a:custGeom>
                <a:avLst/>
                <a:gdLst>
                  <a:gd name="T0" fmla="*/ 0 w 1"/>
                  <a:gd name="T1" fmla="*/ 2147483646 h 2"/>
                  <a:gd name="T2" fmla="*/ 2147483646 w 1"/>
                  <a:gd name="T3" fmla="*/ 2147483646 h 2"/>
                  <a:gd name="T4" fmla="*/ 2147483646 w 1"/>
                  <a:gd name="T5" fmla="*/ 2147483646 h 2"/>
                  <a:gd name="T6" fmla="*/ 0 w 1"/>
                  <a:gd name="T7" fmla="*/ 2147483646 h 2"/>
                  <a:gd name="T8" fmla="*/ 0 w 1"/>
                  <a:gd name="T9" fmla="*/ 2147483646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4" name="Freeform 187">
                <a:extLst>
                  <a:ext uri="{FF2B5EF4-FFF2-40B4-BE49-F238E27FC236}">
                    <a16:creationId xmlns:a16="http://schemas.microsoft.com/office/drawing/2014/main" id="{9161F499-354B-4F8D-8C37-A369E6B15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470" y="1655413"/>
                <a:ext cx="5127" cy="10255"/>
              </a:xfrm>
              <a:custGeom>
                <a:avLst/>
                <a:gdLst>
                  <a:gd name="T0" fmla="*/ 0 w 1"/>
                  <a:gd name="T1" fmla="*/ 2147483646 h 2"/>
                  <a:gd name="T2" fmla="*/ 2147483646 w 1"/>
                  <a:gd name="T3" fmla="*/ 2147483646 h 2"/>
                  <a:gd name="T4" fmla="*/ 2147483646 w 1"/>
                  <a:gd name="T5" fmla="*/ 2147483646 h 2"/>
                  <a:gd name="T6" fmla="*/ 0 w 1"/>
                  <a:gd name="T7" fmla="*/ 2147483646 h 2"/>
                  <a:gd name="T8" fmla="*/ 0 w 1"/>
                  <a:gd name="T9" fmla="*/ 2147483646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5" name="Freeform 188">
                <a:extLst>
                  <a:ext uri="{FF2B5EF4-FFF2-40B4-BE49-F238E27FC236}">
                    <a16:creationId xmlns:a16="http://schemas.microsoft.com/office/drawing/2014/main" id="{70D4B900-2DB2-4C72-9F73-F03DA8947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598" y="1634904"/>
                <a:ext cx="5127" cy="7691"/>
              </a:xfrm>
              <a:custGeom>
                <a:avLst/>
                <a:gdLst>
                  <a:gd name="T0" fmla="*/ 0 w 1"/>
                  <a:gd name="T1" fmla="*/ 2147483646 h 1"/>
                  <a:gd name="T2" fmla="*/ 2147483646 w 1"/>
                  <a:gd name="T3" fmla="*/ 2147483646 h 1"/>
                  <a:gd name="T4" fmla="*/ 2147483646 w 1"/>
                  <a:gd name="T5" fmla="*/ 0 h 1"/>
                  <a:gd name="T6" fmla="*/ 0 w 1"/>
                  <a:gd name="T7" fmla="*/ 0 h 1"/>
                  <a:gd name="T8" fmla="*/ 0 w 1"/>
                  <a:gd name="T9" fmla="*/ 2147483646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6" name="Oval 189">
                <a:extLst>
                  <a:ext uri="{FF2B5EF4-FFF2-40B4-BE49-F238E27FC236}">
                    <a16:creationId xmlns:a16="http://schemas.microsoft.com/office/drawing/2014/main" id="{C0182F49-F814-4A33-8EFF-0EAA90AF0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5834" y="1629777"/>
                <a:ext cx="30764" cy="30764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7" name="Freeform 190">
                <a:extLst>
                  <a:ext uri="{FF2B5EF4-FFF2-40B4-BE49-F238E27FC236}">
                    <a16:creationId xmlns:a16="http://schemas.microsoft.com/office/drawing/2014/main" id="{7D241870-2900-4428-A48F-32D09D98B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598" y="1665668"/>
                <a:ext cx="53837" cy="66655"/>
              </a:xfrm>
              <a:custGeom>
                <a:avLst/>
                <a:gdLst>
                  <a:gd name="T0" fmla="*/ 0 w 9"/>
                  <a:gd name="T1" fmla="*/ 2147483646 h 11"/>
                  <a:gd name="T2" fmla="*/ 2147483646 w 9"/>
                  <a:gd name="T3" fmla="*/ 2147483646 h 11"/>
                  <a:gd name="T4" fmla="*/ 2147483646 w 9"/>
                  <a:gd name="T5" fmla="*/ 2147483646 h 11"/>
                  <a:gd name="T6" fmla="*/ 2147483646 w 9"/>
                  <a:gd name="T7" fmla="*/ 0 h 11"/>
                  <a:gd name="T8" fmla="*/ 0 w 9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0" y="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0"/>
                      <a:pt x="9" y="10"/>
                    </a:cubicBezTo>
                    <a:cubicBezTo>
                      <a:pt x="3" y="0"/>
                      <a:pt x="3" y="0"/>
                      <a:pt x="3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8" name="Freeform 191">
                <a:extLst>
                  <a:ext uri="{FF2B5EF4-FFF2-40B4-BE49-F238E27FC236}">
                    <a16:creationId xmlns:a16="http://schemas.microsoft.com/office/drawing/2014/main" id="{E1665885-B101-40C4-928F-DCD8E879D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416" y="1599013"/>
                <a:ext cx="71782" cy="43582"/>
              </a:xfrm>
              <a:custGeom>
                <a:avLst/>
                <a:gdLst>
                  <a:gd name="T0" fmla="*/ 0 w 12"/>
                  <a:gd name="T1" fmla="*/ 2147483646 h 7"/>
                  <a:gd name="T2" fmla="*/ 2147483646 w 12"/>
                  <a:gd name="T3" fmla="*/ 2147483646 h 7"/>
                  <a:gd name="T4" fmla="*/ 2147483646 w 12"/>
                  <a:gd name="T5" fmla="*/ 2147483646 h 7"/>
                  <a:gd name="T6" fmla="*/ 2147483646 w 12"/>
                  <a:gd name="T7" fmla="*/ 0 h 7"/>
                  <a:gd name="T8" fmla="*/ 0 w 12"/>
                  <a:gd name="T9" fmla="*/ 214748364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0" y="4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0"/>
                      <a:pt x="12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9" name="Freeform 192">
                <a:extLst>
                  <a:ext uri="{FF2B5EF4-FFF2-40B4-BE49-F238E27FC236}">
                    <a16:creationId xmlns:a16="http://schemas.microsoft.com/office/drawing/2014/main" id="{6E9FBB27-1CCC-4DB7-9835-CC6E06F6C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834" y="1540049"/>
                <a:ext cx="25637" cy="71782"/>
              </a:xfrm>
              <a:custGeom>
                <a:avLst/>
                <a:gdLst>
                  <a:gd name="T0" fmla="*/ 0 w 4"/>
                  <a:gd name="T1" fmla="*/ 2147483646 h 12"/>
                  <a:gd name="T2" fmla="*/ 2147483646 w 4"/>
                  <a:gd name="T3" fmla="*/ 2147483646 h 12"/>
                  <a:gd name="T4" fmla="*/ 2147483646 w 4"/>
                  <a:gd name="T5" fmla="*/ 0 h 12"/>
                  <a:gd name="T6" fmla="*/ 2147483646 w 4"/>
                  <a:gd name="T7" fmla="*/ 0 h 12"/>
                  <a:gd name="T8" fmla="*/ 0 w 4"/>
                  <a:gd name="T9" fmla="*/ 214748364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0" y="12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0" name="Freeform 193">
                <a:extLst>
                  <a:ext uri="{FF2B5EF4-FFF2-40B4-BE49-F238E27FC236}">
                    <a16:creationId xmlns:a16="http://schemas.microsoft.com/office/drawing/2014/main" id="{E8D9276B-5524-4439-AFE3-E03ECFD9D7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106" y="1611831"/>
                <a:ext cx="79473" cy="35891"/>
              </a:xfrm>
              <a:custGeom>
                <a:avLst/>
                <a:gdLst>
                  <a:gd name="T0" fmla="*/ 0 w 13"/>
                  <a:gd name="T1" fmla="*/ 2147483646 h 6"/>
                  <a:gd name="T2" fmla="*/ 2147483646 w 13"/>
                  <a:gd name="T3" fmla="*/ 2147483646 h 6"/>
                  <a:gd name="T4" fmla="*/ 2147483646 w 13"/>
                  <a:gd name="T5" fmla="*/ 2147483646 h 6"/>
                  <a:gd name="T6" fmla="*/ 2147483646 w 13"/>
                  <a:gd name="T7" fmla="*/ 0 h 6"/>
                  <a:gd name="T8" fmla="*/ 0 w 13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0" y="2"/>
                    </a:moveTo>
                    <a:cubicBezTo>
                      <a:pt x="12" y="6"/>
                      <a:pt x="12" y="6"/>
                      <a:pt x="12" y="6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1" name="Freeform 194">
                <a:extLst>
                  <a:ext uri="{FF2B5EF4-FFF2-40B4-BE49-F238E27FC236}">
                    <a16:creationId xmlns:a16="http://schemas.microsoft.com/office/drawing/2014/main" id="{61CCAA10-8267-4460-8499-23032358D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125" y="1665668"/>
                <a:ext cx="56400" cy="74346"/>
              </a:xfrm>
              <a:custGeom>
                <a:avLst/>
                <a:gdLst>
                  <a:gd name="T0" fmla="*/ 0 w 9"/>
                  <a:gd name="T1" fmla="*/ 2147483646 h 12"/>
                  <a:gd name="T2" fmla="*/ 2147483646 w 9"/>
                  <a:gd name="T3" fmla="*/ 2147483646 h 12"/>
                  <a:gd name="T4" fmla="*/ 2147483646 w 9"/>
                  <a:gd name="T5" fmla="*/ 2147483646 h 12"/>
                  <a:gd name="T6" fmla="*/ 2147483646 w 9"/>
                  <a:gd name="T7" fmla="*/ 0 h 12"/>
                  <a:gd name="T8" fmla="*/ 0 w 9"/>
                  <a:gd name="T9" fmla="*/ 214748364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0" y="11"/>
                    </a:moveTo>
                    <a:cubicBezTo>
                      <a:pt x="0" y="11"/>
                      <a:pt x="1" y="11"/>
                      <a:pt x="2" y="1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2" name="Freeform 195">
                <a:extLst>
                  <a:ext uri="{FF2B5EF4-FFF2-40B4-BE49-F238E27FC236}">
                    <a16:creationId xmlns:a16="http://schemas.microsoft.com/office/drawing/2014/main" id="{215BD406-64B2-4172-84A3-53952293A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106" y="1634904"/>
                <a:ext cx="53837" cy="87164"/>
              </a:xfrm>
              <a:custGeom>
                <a:avLst/>
                <a:gdLst>
                  <a:gd name="T0" fmla="*/ 0 w 9"/>
                  <a:gd name="T1" fmla="*/ 2147483646 h 14"/>
                  <a:gd name="T2" fmla="*/ 2147483646 w 9"/>
                  <a:gd name="T3" fmla="*/ 2147483646 h 14"/>
                  <a:gd name="T4" fmla="*/ 2147483646 w 9"/>
                  <a:gd name="T5" fmla="*/ 2147483646 h 14"/>
                  <a:gd name="T6" fmla="*/ 2147483646 w 9"/>
                  <a:gd name="T7" fmla="*/ 2147483646 h 14"/>
                  <a:gd name="T8" fmla="*/ 0 w 9"/>
                  <a:gd name="T9" fmla="*/ 0 h 14"/>
                  <a:gd name="T10" fmla="*/ 0 w 9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0" y="1"/>
                    </a:moveTo>
                    <a:cubicBezTo>
                      <a:pt x="0" y="6"/>
                      <a:pt x="2" y="10"/>
                      <a:pt x="5" y="14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3" name="Freeform 196">
                <a:extLst>
                  <a:ext uri="{FF2B5EF4-FFF2-40B4-BE49-F238E27FC236}">
                    <a16:creationId xmlns:a16="http://schemas.microsoft.com/office/drawing/2014/main" id="{EB41222D-18E2-4039-9719-2B910D488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61" y="1704122"/>
                <a:ext cx="84600" cy="46146"/>
              </a:xfrm>
              <a:custGeom>
                <a:avLst/>
                <a:gdLst>
                  <a:gd name="T0" fmla="*/ 0 w 14"/>
                  <a:gd name="T1" fmla="*/ 2147483646 h 8"/>
                  <a:gd name="T2" fmla="*/ 2147483646 w 14"/>
                  <a:gd name="T3" fmla="*/ 2147483646 h 8"/>
                  <a:gd name="T4" fmla="*/ 2147483646 w 14"/>
                  <a:gd name="T5" fmla="*/ 2147483646 h 8"/>
                  <a:gd name="T6" fmla="*/ 2147483646 w 14"/>
                  <a:gd name="T7" fmla="*/ 0 h 8"/>
                  <a:gd name="T8" fmla="*/ 2147483646 w 14"/>
                  <a:gd name="T9" fmla="*/ 0 h 8"/>
                  <a:gd name="T10" fmla="*/ 0 w 14"/>
                  <a:gd name="T11" fmla="*/ 2147483646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7"/>
                    </a:moveTo>
                    <a:cubicBezTo>
                      <a:pt x="1" y="8"/>
                      <a:pt x="4" y="8"/>
                      <a:pt x="6" y="8"/>
                    </a:cubicBezTo>
                    <a:cubicBezTo>
                      <a:pt x="9" y="8"/>
                      <a:pt x="12" y="8"/>
                      <a:pt x="14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4" name="Freeform 197">
                <a:extLst>
                  <a:ext uri="{FF2B5EF4-FFF2-40B4-BE49-F238E27FC236}">
                    <a16:creationId xmlns:a16="http://schemas.microsoft.com/office/drawing/2014/main" id="{2FB1F5F1-A11E-4DA7-9D8F-5D67BC198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489" y="1629777"/>
                <a:ext cx="56400" cy="84600"/>
              </a:xfrm>
              <a:custGeom>
                <a:avLst/>
                <a:gdLst>
                  <a:gd name="T0" fmla="*/ 0 w 9"/>
                  <a:gd name="T1" fmla="*/ 2147483646 h 14"/>
                  <a:gd name="T2" fmla="*/ 2147483646 w 9"/>
                  <a:gd name="T3" fmla="*/ 2147483646 h 14"/>
                  <a:gd name="T4" fmla="*/ 2147483646 w 9"/>
                  <a:gd name="T5" fmla="*/ 2147483646 h 14"/>
                  <a:gd name="T6" fmla="*/ 2147483646 w 9"/>
                  <a:gd name="T7" fmla="*/ 0 h 14"/>
                  <a:gd name="T8" fmla="*/ 2147483646 w 9"/>
                  <a:gd name="T9" fmla="*/ 2147483646 h 14"/>
                  <a:gd name="T10" fmla="*/ 0 w 9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0" y="6"/>
                    </a:moveTo>
                    <a:cubicBezTo>
                      <a:pt x="5" y="14"/>
                      <a:pt x="5" y="14"/>
                      <a:pt x="5" y="14"/>
                    </a:cubicBezTo>
                    <a:cubicBezTo>
                      <a:pt x="7" y="11"/>
                      <a:pt x="9" y="7"/>
                      <a:pt x="9" y="3"/>
                    </a:cubicBezTo>
                    <a:cubicBezTo>
                      <a:pt x="9" y="2"/>
                      <a:pt x="9" y="1"/>
                      <a:pt x="9" y="0"/>
                    </a:cubicBezTo>
                    <a:cubicBezTo>
                      <a:pt x="1" y="4"/>
                      <a:pt x="1" y="4"/>
                      <a:pt x="1" y="4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5" name="Freeform 198">
                <a:extLst>
                  <a:ext uri="{FF2B5EF4-FFF2-40B4-BE49-F238E27FC236}">
                    <a16:creationId xmlns:a16="http://schemas.microsoft.com/office/drawing/2014/main" id="{DA09293C-9D56-4BBD-82FB-3FC973E46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725" y="1540049"/>
                <a:ext cx="74346" cy="58964"/>
              </a:xfrm>
              <a:custGeom>
                <a:avLst/>
                <a:gdLst>
                  <a:gd name="T0" fmla="*/ 0 w 12"/>
                  <a:gd name="T1" fmla="*/ 0 h 10"/>
                  <a:gd name="T2" fmla="*/ 0 w 12"/>
                  <a:gd name="T3" fmla="*/ 2147483646 h 10"/>
                  <a:gd name="T4" fmla="*/ 2147483646 w 12"/>
                  <a:gd name="T5" fmla="*/ 2147483646 h 10"/>
                  <a:gd name="T6" fmla="*/ 2147483646 w 12"/>
                  <a:gd name="T7" fmla="*/ 2147483646 h 10"/>
                  <a:gd name="T8" fmla="*/ 0 w 12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4"/>
                      <a:pt x="5" y="1"/>
                      <a:pt x="0" y="0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6" name="Freeform 199">
                <a:extLst>
                  <a:ext uri="{FF2B5EF4-FFF2-40B4-BE49-F238E27FC236}">
                    <a16:creationId xmlns:a16="http://schemas.microsoft.com/office/drawing/2014/main" id="{11D66268-2C75-4847-AC92-FB8CF40CF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924" y="1540049"/>
                <a:ext cx="66655" cy="66655"/>
              </a:xfrm>
              <a:custGeom>
                <a:avLst/>
                <a:gdLst>
                  <a:gd name="T0" fmla="*/ 0 w 11"/>
                  <a:gd name="T1" fmla="*/ 2147483646 h 11"/>
                  <a:gd name="T2" fmla="*/ 2147483646 w 11"/>
                  <a:gd name="T3" fmla="*/ 2147483646 h 11"/>
                  <a:gd name="T4" fmla="*/ 2147483646 w 11"/>
                  <a:gd name="T5" fmla="*/ 2147483646 h 11"/>
                  <a:gd name="T6" fmla="*/ 2147483646 w 11"/>
                  <a:gd name="T7" fmla="*/ 0 h 11"/>
                  <a:gd name="T8" fmla="*/ 0 w 11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0" y="9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" y="2"/>
                      <a:pt x="2" y="5"/>
                      <a:pt x="0" y="9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7" name="Freeform 200">
                <a:extLst>
                  <a:ext uri="{FF2B5EF4-FFF2-40B4-BE49-F238E27FC236}">
                    <a16:creationId xmlns:a16="http://schemas.microsoft.com/office/drawing/2014/main" id="{E13FC320-C21C-4E7F-8BEC-87D550C74B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1768" y="1483649"/>
                <a:ext cx="320456" cy="323020"/>
              </a:xfrm>
              <a:custGeom>
                <a:avLst/>
                <a:gdLst>
                  <a:gd name="T0" fmla="*/ 2147483646 w 53"/>
                  <a:gd name="T1" fmla="*/ 2147483646 h 53"/>
                  <a:gd name="T2" fmla="*/ 2147483646 w 53"/>
                  <a:gd name="T3" fmla="*/ 0 h 53"/>
                  <a:gd name="T4" fmla="*/ 2147483646 w 53"/>
                  <a:gd name="T5" fmla="*/ 2147483646 h 53"/>
                  <a:gd name="T6" fmla="*/ 2147483646 w 53"/>
                  <a:gd name="T7" fmla="*/ 2147483646 h 53"/>
                  <a:gd name="T8" fmla="*/ 2147483646 w 53"/>
                  <a:gd name="T9" fmla="*/ 2147483646 h 53"/>
                  <a:gd name="T10" fmla="*/ 2147483646 w 53"/>
                  <a:gd name="T11" fmla="*/ 2147483646 h 53"/>
                  <a:gd name="T12" fmla="*/ 2147483646 w 53"/>
                  <a:gd name="T13" fmla="*/ 2147483646 h 53"/>
                  <a:gd name="T14" fmla="*/ 0 w 53"/>
                  <a:gd name="T15" fmla="*/ 2147483646 h 53"/>
                  <a:gd name="T16" fmla="*/ 2147483646 w 53"/>
                  <a:gd name="T17" fmla="*/ 2147483646 h 53"/>
                  <a:gd name="T18" fmla="*/ 2147483646 w 53"/>
                  <a:gd name="T19" fmla="*/ 2147483646 h 53"/>
                  <a:gd name="T20" fmla="*/ 2147483646 w 53"/>
                  <a:gd name="T21" fmla="*/ 2147483646 h 53"/>
                  <a:gd name="T22" fmla="*/ 2147483646 w 53"/>
                  <a:gd name="T23" fmla="*/ 2147483646 h 53"/>
                  <a:gd name="T24" fmla="*/ 2147483646 w 53"/>
                  <a:gd name="T25" fmla="*/ 2147483646 h 53"/>
                  <a:gd name="T26" fmla="*/ 2147483646 w 53"/>
                  <a:gd name="T27" fmla="*/ 2147483646 h 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53">
                    <a:moveTo>
                      <a:pt x="10" y="6"/>
                    </a:moveTo>
                    <a:cubicBezTo>
                      <a:pt x="14" y="2"/>
                      <a:pt x="20" y="0"/>
                      <a:pt x="27" y="0"/>
                    </a:cubicBezTo>
                    <a:cubicBezTo>
                      <a:pt x="33" y="0"/>
                      <a:pt x="39" y="2"/>
                      <a:pt x="44" y="6"/>
                    </a:cubicBezTo>
                    <a:cubicBezTo>
                      <a:pt x="46" y="8"/>
                      <a:pt x="48" y="10"/>
                      <a:pt x="49" y="13"/>
                    </a:cubicBezTo>
                    <a:cubicBezTo>
                      <a:pt x="52" y="17"/>
                      <a:pt x="53" y="21"/>
                      <a:pt x="53" y="27"/>
                    </a:cubicBezTo>
                    <a:cubicBezTo>
                      <a:pt x="53" y="32"/>
                      <a:pt x="52" y="37"/>
                      <a:pt x="49" y="41"/>
                    </a:cubicBezTo>
                    <a:cubicBezTo>
                      <a:pt x="45" y="48"/>
                      <a:pt x="36" y="53"/>
                      <a:pt x="27" y="53"/>
                    </a:cubicBezTo>
                    <a:cubicBezTo>
                      <a:pt x="12" y="53"/>
                      <a:pt x="0" y="41"/>
                      <a:pt x="0" y="27"/>
                    </a:cubicBezTo>
                    <a:cubicBezTo>
                      <a:pt x="0" y="18"/>
                      <a:pt x="4" y="11"/>
                      <a:pt x="10" y="6"/>
                    </a:cubicBezTo>
                    <a:close/>
                    <a:moveTo>
                      <a:pt x="27" y="47"/>
                    </a:moveTo>
                    <a:cubicBezTo>
                      <a:pt x="38" y="47"/>
                      <a:pt x="47" y="38"/>
                      <a:pt x="47" y="27"/>
                    </a:cubicBezTo>
                    <a:cubicBezTo>
                      <a:pt x="47" y="15"/>
                      <a:pt x="38" y="6"/>
                      <a:pt x="27" y="6"/>
                    </a:cubicBezTo>
                    <a:cubicBezTo>
                      <a:pt x="15" y="6"/>
                      <a:pt x="6" y="15"/>
                      <a:pt x="6" y="27"/>
                    </a:cubicBezTo>
                    <a:cubicBezTo>
                      <a:pt x="6" y="38"/>
                      <a:pt x="15" y="47"/>
                      <a:pt x="27" y="47"/>
                    </a:cubicBezTo>
                    <a:close/>
                  </a:path>
                </a:pathLst>
              </a:custGeom>
              <a:solidFill>
                <a:srgbClr val="2134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8" name="Freeform 201">
                <a:extLst>
                  <a:ext uri="{FF2B5EF4-FFF2-40B4-BE49-F238E27FC236}">
                    <a16:creationId xmlns:a16="http://schemas.microsoft.com/office/drawing/2014/main" id="{469655CA-A458-4DB8-A90A-8A5A519D64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77659" y="1519540"/>
                <a:ext cx="248674" cy="251238"/>
              </a:xfrm>
              <a:custGeom>
                <a:avLst/>
                <a:gdLst>
                  <a:gd name="T0" fmla="*/ 2147483646 w 41"/>
                  <a:gd name="T1" fmla="*/ 0 h 41"/>
                  <a:gd name="T2" fmla="*/ 2147483646 w 41"/>
                  <a:gd name="T3" fmla="*/ 2147483646 h 41"/>
                  <a:gd name="T4" fmla="*/ 2147483646 w 41"/>
                  <a:gd name="T5" fmla="*/ 2147483646 h 41"/>
                  <a:gd name="T6" fmla="*/ 0 w 41"/>
                  <a:gd name="T7" fmla="*/ 2147483646 h 41"/>
                  <a:gd name="T8" fmla="*/ 2147483646 w 41"/>
                  <a:gd name="T9" fmla="*/ 0 h 41"/>
                  <a:gd name="T10" fmla="*/ 2147483646 w 41"/>
                  <a:gd name="T11" fmla="*/ 2147483646 h 41"/>
                  <a:gd name="T12" fmla="*/ 2147483646 w 41"/>
                  <a:gd name="T13" fmla="*/ 2147483646 h 41"/>
                  <a:gd name="T14" fmla="*/ 2147483646 w 41"/>
                  <a:gd name="T15" fmla="*/ 2147483646 h 41"/>
                  <a:gd name="T16" fmla="*/ 2147483646 w 41"/>
                  <a:gd name="T17" fmla="*/ 2147483646 h 41"/>
                  <a:gd name="T18" fmla="*/ 2147483646 w 41"/>
                  <a:gd name="T19" fmla="*/ 2147483646 h 4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1">
                    <a:moveTo>
                      <a:pt x="21" y="0"/>
                    </a:moveTo>
                    <a:cubicBezTo>
                      <a:pt x="32" y="0"/>
                      <a:pt x="41" y="9"/>
                      <a:pt x="41" y="21"/>
                    </a:cubicBezTo>
                    <a:cubicBezTo>
                      <a:pt x="41" y="32"/>
                      <a:pt x="32" y="41"/>
                      <a:pt x="21" y="41"/>
                    </a:cubicBezTo>
                    <a:cubicBezTo>
                      <a:pt x="9" y="41"/>
                      <a:pt x="0" y="32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lose/>
                    <a:moveTo>
                      <a:pt x="20" y="39"/>
                    </a:moveTo>
                    <a:cubicBezTo>
                      <a:pt x="30" y="40"/>
                      <a:pt x="39" y="32"/>
                      <a:pt x="39" y="21"/>
                    </a:cubicBezTo>
                    <a:cubicBezTo>
                      <a:pt x="40" y="11"/>
                      <a:pt x="32" y="2"/>
                      <a:pt x="21" y="2"/>
                    </a:cubicBezTo>
                    <a:cubicBezTo>
                      <a:pt x="11" y="1"/>
                      <a:pt x="2" y="9"/>
                      <a:pt x="2" y="20"/>
                    </a:cubicBezTo>
                    <a:cubicBezTo>
                      <a:pt x="1" y="30"/>
                      <a:pt x="9" y="39"/>
                      <a:pt x="20" y="39"/>
                    </a:cubicBezTo>
                    <a:close/>
                  </a:path>
                </a:pathLst>
              </a:custGeom>
              <a:solidFill>
                <a:srgbClr val="2C45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9" name="Freeform 202">
                <a:extLst>
                  <a:ext uri="{FF2B5EF4-FFF2-40B4-BE49-F238E27FC236}">
                    <a16:creationId xmlns:a16="http://schemas.microsoft.com/office/drawing/2014/main" id="{B5B3B6AE-7AE4-433B-A915-59544CA6D4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82786" y="1527231"/>
                <a:ext cx="238419" cy="235856"/>
              </a:xfrm>
              <a:custGeom>
                <a:avLst/>
                <a:gdLst>
                  <a:gd name="T0" fmla="*/ 2147483646 w 39"/>
                  <a:gd name="T1" fmla="*/ 2147483646 h 39"/>
                  <a:gd name="T2" fmla="*/ 2147483646 w 39"/>
                  <a:gd name="T3" fmla="*/ 2147483646 h 39"/>
                  <a:gd name="T4" fmla="*/ 2147483646 w 39"/>
                  <a:gd name="T5" fmla="*/ 2147483646 h 39"/>
                  <a:gd name="T6" fmla="*/ 2147483646 w 39"/>
                  <a:gd name="T7" fmla="*/ 2147483646 h 39"/>
                  <a:gd name="T8" fmla="*/ 2147483646 w 39"/>
                  <a:gd name="T9" fmla="*/ 2147483646 h 39"/>
                  <a:gd name="T10" fmla="*/ 2147483646 w 39"/>
                  <a:gd name="T11" fmla="*/ 2147483646 h 39"/>
                  <a:gd name="T12" fmla="*/ 2147483646 w 39"/>
                  <a:gd name="T13" fmla="*/ 2147483646 h 39"/>
                  <a:gd name="T14" fmla="*/ 2147483646 w 39"/>
                  <a:gd name="T15" fmla="*/ 2147483646 h 39"/>
                  <a:gd name="T16" fmla="*/ 2147483646 w 39"/>
                  <a:gd name="T17" fmla="*/ 2147483646 h 39"/>
                  <a:gd name="T18" fmla="*/ 2147483646 w 39"/>
                  <a:gd name="T19" fmla="*/ 2147483646 h 39"/>
                  <a:gd name="T20" fmla="*/ 2147483646 w 39"/>
                  <a:gd name="T21" fmla="*/ 2147483646 h 39"/>
                  <a:gd name="T22" fmla="*/ 2147483646 w 39"/>
                  <a:gd name="T23" fmla="*/ 2147483646 h 39"/>
                  <a:gd name="T24" fmla="*/ 2147483646 w 39"/>
                  <a:gd name="T25" fmla="*/ 2147483646 h 39"/>
                  <a:gd name="T26" fmla="*/ 2147483646 w 39"/>
                  <a:gd name="T27" fmla="*/ 2147483646 h 39"/>
                  <a:gd name="T28" fmla="*/ 2147483646 w 39"/>
                  <a:gd name="T29" fmla="*/ 2147483646 h 39"/>
                  <a:gd name="T30" fmla="*/ 2147483646 w 39"/>
                  <a:gd name="T31" fmla="*/ 2147483646 h 39"/>
                  <a:gd name="T32" fmla="*/ 2147483646 w 39"/>
                  <a:gd name="T33" fmla="*/ 2147483646 h 39"/>
                  <a:gd name="T34" fmla="*/ 2147483646 w 39"/>
                  <a:gd name="T35" fmla="*/ 2147483646 h 39"/>
                  <a:gd name="T36" fmla="*/ 2147483646 w 39"/>
                  <a:gd name="T37" fmla="*/ 2147483646 h 39"/>
                  <a:gd name="T38" fmla="*/ 2147483646 w 39"/>
                  <a:gd name="T39" fmla="*/ 2147483646 h 39"/>
                  <a:gd name="T40" fmla="*/ 2147483646 w 39"/>
                  <a:gd name="T41" fmla="*/ 2147483646 h 39"/>
                  <a:gd name="T42" fmla="*/ 2147483646 w 39"/>
                  <a:gd name="T43" fmla="*/ 2147483646 h 39"/>
                  <a:gd name="T44" fmla="*/ 2147483646 w 39"/>
                  <a:gd name="T45" fmla="*/ 2147483646 h 39"/>
                  <a:gd name="T46" fmla="*/ 2147483646 w 39"/>
                  <a:gd name="T47" fmla="*/ 2147483646 h 39"/>
                  <a:gd name="T48" fmla="*/ 2147483646 w 39"/>
                  <a:gd name="T49" fmla="*/ 2147483646 h 39"/>
                  <a:gd name="T50" fmla="*/ 2147483646 w 39"/>
                  <a:gd name="T51" fmla="*/ 2147483646 h 39"/>
                  <a:gd name="T52" fmla="*/ 2147483646 w 39"/>
                  <a:gd name="T53" fmla="*/ 2147483646 h 39"/>
                  <a:gd name="T54" fmla="*/ 2147483646 w 39"/>
                  <a:gd name="T55" fmla="*/ 2147483646 h 39"/>
                  <a:gd name="T56" fmla="*/ 2147483646 w 39"/>
                  <a:gd name="T57" fmla="*/ 2147483646 h 39"/>
                  <a:gd name="T58" fmla="*/ 2147483646 w 39"/>
                  <a:gd name="T59" fmla="*/ 2147483646 h 39"/>
                  <a:gd name="T60" fmla="*/ 2147483646 w 39"/>
                  <a:gd name="T61" fmla="*/ 2147483646 h 39"/>
                  <a:gd name="T62" fmla="*/ 2147483646 w 39"/>
                  <a:gd name="T63" fmla="*/ 2147483646 h 39"/>
                  <a:gd name="T64" fmla="*/ 2147483646 w 39"/>
                  <a:gd name="T65" fmla="*/ 2147483646 h 39"/>
                  <a:gd name="T66" fmla="*/ 2147483646 w 39"/>
                  <a:gd name="T67" fmla="*/ 2147483646 h 39"/>
                  <a:gd name="T68" fmla="*/ 2147483646 w 39"/>
                  <a:gd name="T69" fmla="*/ 2147483646 h 39"/>
                  <a:gd name="T70" fmla="*/ 2147483646 w 39"/>
                  <a:gd name="T71" fmla="*/ 2147483646 h 39"/>
                  <a:gd name="T72" fmla="*/ 2147483646 w 39"/>
                  <a:gd name="T73" fmla="*/ 2147483646 h 39"/>
                  <a:gd name="T74" fmla="*/ 2147483646 w 39"/>
                  <a:gd name="T75" fmla="*/ 2147483646 h 39"/>
                  <a:gd name="T76" fmla="*/ 2147483646 w 39"/>
                  <a:gd name="T77" fmla="*/ 2147483646 h 39"/>
                  <a:gd name="T78" fmla="*/ 2147483646 w 39"/>
                  <a:gd name="T79" fmla="*/ 2147483646 h 39"/>
                  <a:gd name="T80" fmla="*/ 2147483646 w 39"/>
                  <a:gd name="T81" fmla="*/ 2147483646 h 39"/>
                  <a:gd name="T82" fmla="*/ 2147483646 w 39"/>
                  <a:gd name="T83" fmla="*/ 2147483646 h 39"/>
                  <a:gd name="T84" fmla="*/ 2147483646 w 39"/>
                  <a:gd name="T85" fmla="*/ 2147483646 h 39"/>
                  <a:gd name="T86" fmla="*/ 2147483646 w 39"/>
                  <a:gd name="T87" fmla="*/ 2147483646 h 3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39" h="39">
                    <a:moveTo>
                      <a:pt x="20" y="1"/>
                    </a:moveTo>
                    <a:cubicBezTo>
                      <a:pt x="31" y="1"/>
                      <a:pt x="39" y="10"/>
                      <a:pt x="38" y="20"/>
                    </a:cubicBezTo>
                    <a:cubicBezTo>
                      <a:pt x="38" y="31"/>
                      <a:pt x="29" y="39"/>
                      <a:pt x="19" y="38"/>
                    </a:cubicBezTo>
                    <a:cubicBezTo>
                      <a:pt x="8" y="38"/>
                      <a:pt x="0" y="29"/>
                      <a:pt x="1" y="19"/>
                    </a:cubicBezTo>
                    <a:cubicBezTo>
                      <a:pt x="1" y="8"/>
                      <a:pt x="10" y="0"/>
                      <a:pt x="20" y="1"/>
                    </a:cubicBezTo>
                    <a:close/>
                    <a:moveTo>
                      <a:pt x="2" y="16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3" y="15"/>
                      <a:pt x="2" y="16"/>
                    </a:cubicBezTo>
                    <a:close/>
                    <a:moveTo>
                      <a:pt x="4" y="11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1" y="4"/>
                      <a:pt x="6" y="7"/>
                      <a:pt x="4" y="11"/>
                    </a:cubicBezTo>
                    <a:close/>
                    <a:moveTo>
                      <a:pt x="17" y="18"/>
                    </a:move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8"/>
                      <a:pt x="17" y="18"/>
                      <a:pt x="17" y="18"/>
                    </a:cubicBezTo>
                    <a:close/>
                    <a:moveTo>
                      <a:pt x="17" y="23"/>
                    </a:moveTo>
                    <a:cubicBezTo>
                      <a:pt x="18" y="23"/>
                      <a:pt x="18" y="23"/>
                      <a:pt x="18" y="23"/>
                    </a:cubicBezTo>
                    <a:cubicBezTo>
                      <a:pt x="19" y="22"/>
                      <a:pt x="18" y="22"/>
                      <a:pt x="18" y="22"/>
                    </a:cubicBezTo>
                    <a:cubicBezTo>
                      <a:pt x="18" y="21"/>
                      <a:pt x="17" y="21"/>
                      <a:pt x="17" y="22"/>
                    </a:cubicBezTo>
                    <a:cubicBezTo>
                      <a:pt x="17" y="22"/>
                      <a:pt x="17" y="23"/>
                      <a:pt x="17" y="23"/>
                    </a:cubicBezTo>
                    <a:close/>
                    <a:moveTo>
                      <a:pt x="20" y="2"/>
                    </a:moveTo>
                    <a:cubicBezTo>
                      <a:pt x="19" y="2"/>
                      <a:pt x="19" y="2"/>
                      <a:pt x="18" y="2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0" y="2"/>
                    </a:lnTo>
                    <a:close/>
                    <a:moveTo>
                      <a:pt x="19" y="16"/>
                    </a:moveTo>
                    <a:cubicBezTo>
                      <a:pt x="19" y="17"/>
                      <a:pt x="19" y="17"/>
                      <a:pt x="20" y="17"/>
                    </a:cubicBezTo>
                    <a:cubicBezTo>
                      <a:pt x="20" y="17"/>
                      <a:pt x="20" y="17"/>
                      <a:pt x="20" y="16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19" y="16"/>
                      <a:pt x="19" y="16"/>
                      <a:pt x="19" y="16"/>
                    </a:cubicBezTo>
                    <a:close/>
                    <a:moveTo>
                      <a:pt x="20" y="17"/>
                    </a:moveTo>
                    <a:cubicBezTo>
                      <a:pt x="18" y="17"/>
                      <a:pt x="17" y="18"/>
                      <a:pt x="17" y="20"/>
                    </a:cubicBezTo>
                    <a:cubicBezTo>
                      <a:pt x="17" y="21"/>
                      <a:pt x="18" y="22"/>
                      <a:pt x="20" y="22"/>
                    </a:cubicBezTo>
                    <a:cubicBezTo>
                      <a:pt x="21" y="22"/>
                      <a:pt x="22" y="21"/>
                      <a:pt x="22" y="20"/>
                    </a:cubicBezTo>
                    <a:cubicBezTo>
                      <a:pt x="22" y="18"/>
                      <a:pt x="21" y="17"/>
                      <a:pt x="20" y="17"/>
                    </a:cubicBezTo>
                    <a:close/>
                    <a:moveTo>
                      <a:pt x="21" y="23"/>
                    </a:moveTo>
                    <a:cubicBezTo>
                      <a:pt x="21" y="23"/>
                      <a:pt x="22" y="23"/>
                      <a:pt x="22" y="23"/>
                    </a:cubicBezTo>
                    <a:cubicBezTo>
                      <a:pt x="22" y="23"/>
                      <a:pt x="22" y="22"/>
                      <a:pt x="22" y="22"/>
                    </a:cubicBezTo>
                    <a:cubicBezTo>
                      <a:pt x="22" y="21"/>
                      <a:pt x="21" y="21"/>
                      <a:pt x="21" y="22"/>
                    </a:cubicBezTo>
                    <a:cubicBezTo>
                      <a:pt x="21" y="22"/>
                      <a:pt x="21" y="22"/>
                      <a:pt x="21" y="23"/>
                    </a:cubicBezTo>
                    <a:close/>
                    <a:moveTo>
                      <a:pt x="22" y="19"/>
                    </a:moveTo>
                    <a:cubicBezTo>
                      <a:pt x="22" y="19"/>
                      <a:pt x="23" y="19"/>
                      <a:pt x="23" y="19"/>
                    </a:cubicBezTo>
                    <a:cubicBezTo>
                      <a:pt x="23" y="19"/>
                      <a:pt x="23" y="19"/>
                      <a:pt x="23" y="18"/>
                    </a:cubicBezTo>
                    <a:cubicBezTo>
                      <a:pt x="23" y="18"/>
                      <a:pt x="23" y="18"/>
                      <a:pt x="22" y="18"/>
                    </a:cubicBezTo>
                    <a:cubicBezTo>
                      <a:pt x="22" y="18"/>
                      <a:pt x="22" y="18"/>
                      <a:pt x="22" y="19"/>
                    </a:cubicBezTo>
                    <a:close/>
                    <a:moveTo>
                      <a:pt x="23" y="2"/>
                    </a:moveTo>
                    <a:cubicBezTo>
                      <a:pt x="24" y="11"/>
                      <a:pt x="24" y="11"/>
                      <a:pt x="24" y="11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2" y="6"/>
                      <a:pt x="28" y="3"/>
                      <a:pt x="23" y="2"/>
                    </a:cubicBezTo>
                    <a:close/>
                    <a:moveTo>
                      <a:pt x="36" y="12"/>
                    </a:moveTo>
                    <a:cubicBezTo>
                      <a:pt x="24" y="16"/>
                      <a:pt x="24" y="16"/>
                      <a:pt x="24" y="16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6" y="14"/>
                      <a:pt x="36" y="12"/>
                      <a:pt x="36" y="12"/>
                    </a:cubicBezTo>
                    <a:close/>
                    <a:moveTo>
                      <a:pt x="33" y="31"/>
                    </a:moveTo>
                    <a:cubicBezTo>
                      <a:pt x="35" y="28"/>
                      <a:pt x="37" y="24"/>
                      <a:pt x="37" y="20"/>
                    </a:cubicBezTo>
                    <a:cubicBezTo>
                      <a:pt x="37" y="19"/>
                      <a:pt x="37" y="18"/>
                      <a:pt x="37" y="17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9" y="23"/>
                      <a:pt x="29" y="23"/>
                      <a:pt x="29" y="23"/>
                    </a:cubicBezTo>
                    <a:lnTo>
                      <a:pt x="33" y="31"/>
                    </a:lnTo>
                    <a:close/>
                    <a:moveTo>
                      <a:pt x="31" y="33"/>
                    </a:moveTo>
                    <a:cubicBezTo>
                      <a:pt x="25" y="23"/>
                      <a:pt x="25" y="23"/>
                      <a:pt x="25" y="23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30" y="34"/>
                      <a:pt x="30" y="34"/>
                      <a:pt x="30" y="34"/>
                    </a:cubicBezTo>
                    <a:cubicBezTo>
                      <a:pt x="30" y="34"/>
                      <a:pt x="31" y="33"/>
                      <a:pt x="31" y="33"/>
                    </a:cubicBezTo>
                    <a:close/>
                    <a:moveTo>
                      <a:pt x="19" y="37"/>
                    </a:moveTo>
                    <a:cubicBezTo>
                      <a:pt x="22" y="37"/>
                      <a:pt x="25" y="37"/>
                      <a:pt x="27" y="35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" y="37"/>
                      <a:pt x="17" y="37"/>
                      <a:pt x="19" y="37"/>
                    </a:cubicBezTo>
                    <a:close/>
                    <a:moveTo>
                      <a:pt x="11" y="35"/>
                    </a:moveTo>
                    <a:cubicBezTo>
                      <a:pt x="18" y="25"/>
                      <a:pt x="18" y="25"/>
                      <a:pt x="18" y="25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4"/>
                      <a:pt x="10" y="34"/>
                      <a:pt x="11" y="35"/>
                    </a:cubicBezTo>
                    <a:close/>
                    <a:moveTo>
                      <a:pt x="7" y="32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2" y="19"/>
                      <a:pt x="2" y="19"/>
                    </a:cubicBezTo>
                    <a:cubicBezTo>
                      <a:pt x="2" y="24"/>
                      <a:pt x="4" y="28"/>
                      <a:pt x="7" y="32"/>
                    </a:cubicBez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0" name="Oval 203">
                <a:extLst>
                  <a:ext uri="{FF2B5EF4-FFF2-40B4-BE49-F238E27FC236}">
                    <a16:creationId xmlns:a16="http://schemas.microsoft.com/office/drawing/2014/main" id="{1A3C2A7B-0D05-4DD7-8B2B-1289254F70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8151" y="1624649"/>
                <a:ext cx="7691" cy="5127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1" name="Freeform 204">
                <a:extLst>
                  <a:ext uri="{FF2B5EF4-FFF2-40B4-BE49-F238E27FC236}">
                    <a16:creationId xmlns:a16="http://schemas.microsoft.com/office/drawing/2014/main" id="{F787558B-64E0-4787-A99E-0DCD125AA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0205" y="1634904"/>
                <a:ext cx="5127" cy="769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2147483646 h 1"/>
                  <a:gd name="T4" fmla="*/ 2147483646 w 1"/>
                  <a:gd name="T5" fmla="*/ 2147483646 h 1"/>
                  <a:gd name="T6" fmla="*/ 2147483646 w 1"/>
                  <a:gd name="T7" fmla="*/ 0 h 1"/>
                  <a:gd name="T8" fmla="*/ 0 w 1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2" name="Freeform 206">
                <a:extLst>
                  <a:ext uri="{FF2B5EF4-FFF2-40B4-BE49-F238E27FC236}">
                    <a16:creationId xmlns:a16="http://schemas.microsoft.com/office/drawing/2014/main" id="{A22E60CD-090C-4D93-9878-E77956C12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332" y="1655413"/>
                <a:ext cx="12818" cy="10255"/>
              </a:xfrm>
              <a:custGeom>
                <a:avLst/>
                <a:gdLst>
                  <a:gd name="T0" fmla="*/ 0 w 2"/>
                  <a:gd name="T1" fmla="*/ 2147483646 h 2"/>
                  <a:gd name="T2" fmla="*/ 2147483646 w 2"/>
                  <a:gd name="T3" fmla="*/ 2147483646 h 2"/>
                  <a:gd name="T4" fmla="*/ 2147483646 w 2"/>
                  <a:gd name="T5" fmla="*/ 2147483646 h 2"/>
                  <a:gd name="T6" fmla="*/ 0 w 2"/>
                  <a:gd name="T7" fmla="*/ 2147483646 h 2"/>
                  <a:gd name="T8" fmla="*/ 0 w 2"/>
                  <a:gd name="T9" fmla="*/ 2147483646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3" name="Freeform 207">
                <a:extLst>
                  <a:ext uri="{FF2B5EF4-FFF2-40B4-BE49-F238E27FC236}">
                    <a16:creationId xmlns:a16="http://schemas.microsoft.com/office/drawing/2014/main" id="{65314C87-12A5-434E-A3B0-14F01C63C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0969" y="1655413"/>
                <a:ext cx="5127" cy="10255"/>
              </a:xfrm>
              <a:custGeom>
                <a:avLst/>
                <a:gdLst>
                  <a:gd name="T0" fmla="*/ 0 w 1"/>
                  <a:gd name="T1" fmla="*/ 2147483646 h 2"/>
                  <a:gd name="T2" fmla="*/ 2147483646 w 1"/>
                  <a:gd name="T3" fmla="*/ 2147483646 h 2"/>
                  <a:gd name="T4" fmla="*/ 2147483646 w 1"/>
                  <a:gd name="T5" fmla="*/ 2147483646 h 2"/>
                  <a:gd name="T6" fmla="*/ 0 w 1"/>
                  <a:gd name="T7" fmla="*/ 2147483646 h 2"/>
                  <a:gd name="T8" fmla="*/ 0 w 1"/>
                  <a:gd name="T9" fmla="*/ 2147483646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4" name="Freeform 208">
                <a:extLst>
                  <a:ext uri="{FF2B5EF4-FFF2-40B4-BE49-F238E27FC236}">
                    <a16:creationId xmlns:a16="http://schemas.microsoft.com/office/drawing/2014/main" id="{5593CF69-9A38-44C5-91D4-4A6E2A89E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096" y="1634904"/>
                <a:ext cx="7691" cy="7691"/>
              </a:xfrm>
              <a:custGeom>
                <a:avLst/>
                <a:gdLst>
                  <a:gd name="T0" fmla="*/ 0 w 1"/>
                  <a:gd name="T1" fmla="*/ 2147483646 h 1"/>
                  <a:gd name="T2" fmla="*/ 2147483646 w 1"/>
                  <a:gd name="T3" fmla="*/ 2147483646 h 1"/>
                  <a:gd name="T4" fmla="*/ 2147483646 w 1"/>
                  <a:gd name="T5" fmla="*/ 0 h 1"/>
                  <a:gd name="T6" fmla="*/ 0 w 1"/>
                  <a:gd name="T7" fmla="*/ 0 h 1"/>
                  <a:gd name="T8" fmla="*/ 0 w 1"/>
                  <a:gd name="T9" fmla="*/ 2147483646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5" name="Oval 209">
                <a:extLst>
                  <a:ext uri="{FF2B5EF4-FFF2-40B4-BE49-F238E27FC236}">
                    <a16:creationId xmlns:a16="http://schemas.microsoft.com/office/drawing/2014/main" id="{58156272-F6B4-4AB2-AE19-7AB5BD8B1D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5332" y="1629777"/>
                <a:ext cx="30764" cy="30764"/>
              </a:xfrm>
              <a:prstGeom prst="ellipse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6" name="Freeform 210">
                <a:extLst>
                  <a:ext uri="{FF2B5EF4-FFF2-40B4-BE49-F238E27FC236}">
                    <a16:creationId xmlns:a16="http://schemas.microsoft.com/office/drawing/2014/main" id="{8336C529-1D81-495C-88D3-125F4E7D4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096" y="1665668"/>
                <a:ext cx="56400" cy="66655"/>
              </a:xfrm>
              <a:custGeom>
                <a:avLst/>
                <a:gdLst>
                  <a:gd name="T0" fmla="*/ 0 w 9"/>
                  <a:gd name="T1" fmla="*/ 2147483646 h 11"/>
                  <a:gd name="T2" fmla="*/ 2147483646 w 9"/>
                  <a:gd name="T3" fmla="*/ 2147483646 h 11"/>
                  <a:gd name="T4" fmla="*/ 2147483646 w 9"/>
                  <a:gd name="T5" fmla="*/ 2147483646 h 11"/>
                  <a:gd name="T6" fmla="*/ 2147483646 w 9"/>
                  <a:gd name="T7" fmla="*/ 0 h 11"/>
                  <a:gd name="T8" fmla="*/ 0 w 9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0" y="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0"/>
                      <a:pt x="9" y="10"/>
                    </a:cubicBezTo>
                    <a:cubicBezTo>
                      <a:pt x="3" y="0"/>
                      <a:pt x="3" y="0"/>
                      <a:pt x="3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7" name="Freeform 211">
                <a:extLst>
                  <a:ext uri="{FF2B5EF4-FFF2-40B4-BE49-F238E27FC236}">
                    <a16:creationId xmlns:a16="http://schemas.microsoft.com/office/drawing/2014/main" id="{726D4D6B-29B3-4CCD-9C66-7C0F61A00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8914" y="1599013"/>
                <a:ext cx="79473" cy="43582"/>
              </a:xfrm>
              <a:custGeom>
                <a:avLst/>
                <a:gdLst>
                  <a:gd name="T0" fmla="*/ 0 w 13"/>
                  <a:gd name="T1" fmla="*/ 2147483646 h 7"/>
                  <a:gd name="T2" fmla="*/ 2147483646 w 13"/>
                  <a:gd name="T3" fmla="*/ 2147483646 h 7"/>
                  <a:gd name="T4" fmla="*/ 2147483646 w 13"/>
                  <a:gd name="T5" fmla="*/ 2147483646 h 7"/>
                  <a:gd name="T6" fmla="*/ 2147483646 w 13"/>
                  <a:gd name="T7" fmla="*/ 0 h 7"/>
                  <a:gd name="T8" fmla="*/ 0 w 13"/>
                  <a:gd name="T9" fmla="*/ 214748364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7">
                    <a:moveTo>
                      <a:pt x="0" y="4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2"/>
                      <a:pt x="12" y="0"/>
                      <a:pt x="12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8" name="Freeform 212">
                <a:extLst>
                  <a:ext uri="{FF2B5EF4-FFF2-40B4-BE49-F238E27FC236}">
                    <a16:creationId xmlns:a16="http://schemas.microsoft.com/office/drawing/2014/main" id="{AD85B854-1A78-4DE8-BBCE-0188C22E7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332" y="1540049"/>
                <a:ext cx="25637" cy="71782"/>
              </a:xfrm>
              <a:custGeom>
                <a:avLst/>
                <a:gdLst>
                  <a:gd name="T0" fmla="*/ 0 w 4"/>
                  <a:gd name="T1" fmla="*/ 2147483646 h 12"/>
                  <a:gd name="T2" fmla="*/ 2147483646 w 4"/>
                  <a:gd name="T3" fmla="*/ 2147483646 h 12"/>
                  <a:gd name="T4" fmla="*/ 2147483646 w 4"/>
                  <a:gd name="T5" fmla="*/ 0 h 12"/>
                  <a:gd name="T6" fmla="*/ 2147483646 w 4"/>
                  <a:gd name="T7" fmla="*/ 0 h 12"/>
                  <a:gd name="T8" fmla="*/ 0 w 4"/>
                  <a:gd name="T9" fmla="*/ 214748364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0" y="12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9" name="Freeform 213">
                <a:extLst>
                  <a:ext uri="{FF2B5EF4-FFF2-40B4-BE49-F238E27FC236}">
                    <a16:creationId xmlns:a16="http://schemas.microsoft.com/office/drawing/2014/main" id="{78701143-5F28-4525-B762-08490487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605" y="1611831"/>
                <a:ext cx="79473" cy="35891"/>
              </a:xfrm>
              <a:custGeom>
                <a:avLst/>
                <a:gdLst>
                  <a:gd name="T0" fmla="*/ 0 w 13"/>
                  <a:gd name="T1" fmla="*/ 2147483646 h 6"/>
                  <a:gd name="T2" fmla="*/ 2147483646 w 13"/>
                  <a:gd name="T3" fmla="*/ 2147483646 h 6"/>
                  <a:gd name="T4" fmla="*/ 2147483646 w 13"/>
                  <a:gd name="T5" fmla="*/ 2147483646 h 6"/>
                  <a:gd name="T6" fmla="*/ 2147483646 w 13"/>
                  <a:gd name="T7" fmla="*/ 0 h 6"/>
                  <a:gd name="T8" fmla="*/ 0 w 13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0" y="2"/>
                    </a:moveTo>
                    <a:cubicBezTo>
                      <a:pt x="12" y="6"/>
                      <a:pt x="12" y="6"/>
                      <a:pt x="12" y="6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2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0" name="Freeform 214">
                <a:extLst>
                  <a:ext uri="{FF2B5EF4-FFF2-40B4-BE49-F238E27FC236}">
                    <a16:creationId xmlns:a16="http://schemas.microsoft.com/office/drawing/2014/main" id="{33E8E7A1-787C-4E5A-B428-E6CA61967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9187" y="1665668"/>
                <a:ext cx="53837" cy="74346"/>
              </a:xfrm>
              <a:custGeom>
                <a:avLst/>
                <a:gdLst>
                  <a:gd name="T0" fmla="*/ 0 w 9"/>
                  <a:gd name="T1" fmla="*/ 2147483646 h 12"/>
                  <a:gd name="T2" fmla="*/ 2147483646 w 9"/>
                  <a:gd name="T3" fmla="*/ 2147483646 h 12"/>
                  <a:gd name="T4" fmla="*/ 2147483646 w 9"/>
                  <a:gd name="T5" fmla="*/ 2147483646 h 12"/>
                  <a:gd name="T6" fmla="*/ 2147483646 w 9"/>
                  <a:gd name="T7" fmla="*/ 0 h 12"/>
                  <a:gd name="T8" fmla="*/ 0 w 9"/>
                  <a:gd name="T9" fmla="*/ 214748364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0" y="11"/>
                    </a:moveTo>
                    <a:cubicBezTo>
                      <a:pt x="0" y="11"/>
                      <a:pt x="1" y="11"/>
                      <a:pt x="2" y="1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1" name="Freeform 215">
                <a:extLst>
                  <a:ext uri="{FF2B5EF4-FFF2-40B4-BE49-F238E27FC236}">
                    <a16:creationId xmlns:a16="http://schemas.microsoft.com/office/drawing/2014/main" id="{8003947B-EC4D-40CE-B67D-E8D5F80D8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605" y="1634904"/>
                <a:ext cx="53837" cy="87164"/>
              </a:xfrm>
              <a:custGeom>
                <a:avLst/>
                <a:gdLst>
                  <a:gd name="T0" fmla="*/ 0 w 9"/>
                  <a:gd name="T1" fmla="*/ 2147483646 h 14"/>
                  <a:gd name="T2" fmla="*/ 2147483646 w 9"/>
                  <a:gd name="T3" fmla="*/ 2147483646 h 14"/>
                  <a:gd name="T4" fmla="*/ 2147483646 w 9"/>
                  <a:gd name="T5" fmla="*/ 2147483646 h 14"/>
                  <a:gd name="T6" fmla="*/ 2147483646 w 9"/>
                  <a:gd name="T7" fmla="*/ 2147483646 h 14"/>
                  <a:gd name="T8" fmla="*/ 0 w 9"/>
                  <a:gd name="T9" fmla="*/ 0 h 14"/>
                  <a:gd name="T10" fmla="*/ 0 w 9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0" y="1"/>
                    </a:moveTo>
                    <a:cubicBezTo>
                      <a:pt x="0" y="6"/>
                      <a:pt x="2" y="10"/>
                      <a:pt x="5" y="14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2" name="Freeform 216">
                <a:extLst>
                  <a:ext uri="{FF2B5EF4-FFF2-40B4-BE49-F238E27FC236}">
                    <a16:creationId xmlns:a16="http://schemas.microsoft.com/office/drawing/2014/main" id="{7D21318B-E259-47D2-9505-68835CDF1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2259" y="1704122"/>
                <a:ext cx="84600" cy="46146"/>
              </a:xfrm>
              <a:custGeom>
                <a:avLst/>
                <a:gdLst>
                  <a:gd name="T0" fmla="*/ 0 w 14"/>
                  <a:gd name="T1" fmla="*/ 2147483646 h 8"/>
                  <a:gd name="T2" fmla="*/ 2147483646 w 14"/>
                  <a:gd name="T3" fmla="*/ 2147483646 h 8"/>
                  <a:gd name="T4" fmla="*/ 2147483646 w 14"/>
                  <a:gd name="T5" fmla="*/ 2147483646 h 8"/>
                  <a:gd name="T6" fmla="*/ 2147483646 w 14"/>
                  <a:gd name="T7" fmla="*/ 0 h 8"/>
                  <a:gd name="T8" fmla="*/ 2147483646 w 14"/>
                  <a:gd name="T9" fmla="*/ 0 h 8"/>
                  <a:gd name="T10" fmla="*/ 0 w 14"/>
                  <a:gd name="T11" fmla="*/ 2147483646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7"/>
                    </a:moveTo>
                    <a:cubicBezTo>
                      <a:pt x="2" y="8"/>
                      <a:pt x="4" y="8"/>
                      <a:pt x="6" y="8"/>
                    </a:cubicBezTo>
                    <a:cubicBezTo>
                      <a:pt x="9" y="8"/>
                      <a:pt x="12" y="8"/>
                      <a:pt x="14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3" name="Freeform 217">
                <a:extLst>
                  <a:ext uri="{FF2B5EF4-FFF2-40B4-BE49-F238E27FC236}">
                    <a16:creationId xmlns:a16="http://schemas.microsoft.com/office/drawing/2014/main" id="{89E400A7-375A-4DA0-9AE6-174282BD2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9678" y="1629777"/>
                <a:ext cx="48709" cy="84600"/>
              </a:xfrm>
              <a:custGeom>
                <a:avLst/>
                <a:gdLst>
                  <a:gd name="T0" fmla="*/ 0 w 8"/>
                  <a:gd name="T1" fmla="*/ 2147483646 h 14"/>
                  <a:gd name="T2" fmla="*/ 2147483646 w 8"/>
                  <a:gd name="T3" fmla="*/ 2147483646 h 14"/>
                  <a:gd name="T4" fmla="*/ 2147483646 w 8"/>
                  <a:gd name="T5" fmla="*/ 2147483646 h 14"/>
                  <a:gd name="T6" fmla="*/ 2147483646 w 8"/>
                  <a:gd name="T7" fmla="*/ 0 h 14"/>
                  <a:gd name="T8" fmla="*/ 0 w 8"/>
                  <a:gd name="T9" fmla="*/ 2147483646 h 14"/>
                  <a:gd name="T10" fmla="*/ 0 w 8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0" y="6"/>
                    </a:moveTo>
                    <a:cubicBezTo>
                      <a:pt x="4" y="14"/>
                      <a:pt x="4" y="14"/>
                      <a:pt x="4" y="14"/>
                    </a:cubicBezTo>
                    <a:cubicBezTo>
                      <a:pt x="6" y="11"/>
                      <a:pt x="8" y="7"/>
                      <a:pt x="8" y="3"/>
                    </a:cubicBezTo>
                    <a:cubicBezTo>
                      <a:pt x="8" y="2"/>
                      <a:pt x="8" y="1"/>
                      <a:pt x="8" y="0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4" name="Freeform 218">
                <a:extLst>
                  <a:ext uri="{FF2B5EF4-FFF2-40B4-BE49-F238E27FC236}">
                    <a16:creationId xmlns:a16="http://schemas.microsoft.com/office/drawing/2014/main" id="{AC85504E-8F3C-45D9-9512-5D4BED16A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3787" y="1540049"/>
                <a:ext cx="71782" cy="58964"/>
              </a:xfrm>
              <a:custGeom>
                <a:avLst/>
                <a:gdLst>
                  <a:gd name="T0" fmla="*/ 0 w 12"/>
                  <a:gd name="T1" fmla="*/ 0 h 10"/>
                  <a:gd name="T2" fmla="*/ 2147483646 w 12"/>
                  <a:gd name="T3" fmla="*/ 2147483646 h 10"/>
                  <a:gd name="T4" fmla="*/ 2147483646 w 12"/>
                  <a:gd name="T5" fmla="*/ 2147483646 h 10"/>
                  <a:gd name="T6" fmla="*/ 2147483646 w 12"/>
                  <a:gd name="T7" fmla="*/ 2147483646 h 10"/>
                  <a:gd name="T8" fmla="*/ 0 w 12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0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4"/>
                      <a:pt x="5" y="1"/>
                      <a:pt x="0" y="0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5" name="Freeform 219">
                <a:extLst>
                  <a:ext uri="{FF2B5EF4-FFF2-40B4-BE49-F238E27FC236}">
                    <a16:creationId xmlns:a16="http://schemas.microsoft.com/office/drawing/2014/main" id="{CE24713D-6604-4981-83D3-E564AEB23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423" y="1540049"/>
                <a:ext cx="71782" cy="66655"/>
              </a:xfrm>
              <a:custGeom>
                <a:avLst/>
                <a:gdLst>
                  <a:gd name="T0" fmla="*/ 0 w 12"/>
                  <a:gd name="T1" fmla="*/ 2147483646 h 11"/>
                  <a:gd name="T2" fmla="*/ 2147483646 w 12"/>
                  <a:gd name="T3" fmla="*/ 2147483646 h 11"/>
                  <a:gd name="T4" fmla="*/ 2147483646 w 12"/>
                  <a:gd name="T5" fmla="*/ 2147483646 h 11"/>
                  <a:gd name="T6" fmla="*/ 2147483646 w 12"/>
                  <a:gd name="T7" fmla="*/ 0 h 11"/>
                  <a:gd name="T8" fmla="*/ 0 w 12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0" y="9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7" y="2"/>
                      <a:pt x="2" y="5"/>
                      <a:pt x="0" y="9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6" name="Rectangle 220">
                <a:extLst>
                  <a:ext uri="{FF2B5EF4-FFF2-40B4-BE49-F238E27FC236}">
                    <a16:creationId xmlns:a16="http://schemas.microsoft.com/office/drawing/2014/main" id="{ED7C78FD-E7E3-443E-AB2B-A2DC038B71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52023" y="1301629"/>
                <a:ext cx="123055" cy="12818"/>
              </a:xfrm>
              <a:prstGeom prst="rect">
                <a:avLst/>
              </a:pr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7" name="Rectangle 221">
                <a:extLst>
                  <a:ext uri="{FF2B5EF4-FFF2-40B4-BE49-F238E27FC236}">
                    <a16:creationId xmlns:a16="http://schemas.microsoft.com/office/drawing/2014/main" id="{06EE6228-B5CF-4CC1-B886-AD1B839AD1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8019" y="1332393"/>
                <a:ext cx="128183" cy="12818"/>
              </a:xfrm>
              <a:prstGeom prst="rect">
                <a:avLst/>
              </a:pr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8" name="Freeform 222">
                <a:extLst>
                  <a:ext uri="{FF2B5EF4-FFF2-40B4-BE49-F238E27FC236}">
                    <a16:creationId xmlns:a16="http://schemas.microsoft.com/office/drawing/2014/main" id="{2D4BF284-1312-4103-8477-1AE566783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908" y="1173447"/>
                <a:ext cx="120492" cy="92291"/>
              </a:xfrm>
              <a:custGeom>
                <a:avLst/>
                <a:gdLst>
                  <a:gd name="T0" fmla="*/ 0 w 20"/>
                  <a:gd name="T1" fmla="*/ 2147483646 h 15"/>
                  <a:gd name="T2" fmla="*/ 2147483646 w 20"/>
                  <a:gd name="T3" fmla="*/ 2147483646 h 15"/>
                  <a:gd name="T4" fmla="*/ 2147483646 w 20"/>
                  <a:gd name="T5" fmla="*/ 2147483646 h 15"/>
                  <a:gd name="T6" fmla="*/ 2147483646 w 20"/>
                  <a:gd name="T7" fmla="*/ 2147483646 h 15"/>
                  <a:gd name="T8" fmla="*/ 0 w 20"/>
                  <a:gd name="T9" fmla="*/ 2147483646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5">
                    <a:moveTo>
                      <a:pt x="0" y="15"/>
                    </a:moveTo>
                    <a:cubicBezTo>
                      <a:pt x="12" y="14"/>
                      <a:pt x="12" y="14"/>
                      <a:pt x="12" y="14"/>
                    </a:cubicBezTo>
                    <a:cubicBezTo>
                      <a:pt x="20" y="14"/>
                      <a:pt x="19" y="10"/>
                      <a:pt x="19" y="10"/>
                    </a:cubicBezTo>
                    <a:cubicBezTo>
                      <a:pt x="20" y="0"/>
                      <a:pt x="15" y="1"/>
                      <a:pt x="15" y="1"/>
                    </a:cubicBezTo>
                    <a:cubicBezTo>
                      <a:pt x="11" y="3"/>
                      <a:pt x="0" y="15"/>
                      <a:pt x="0" y="15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8" name="组合 244">
              <a:extLst>
                <a:ext uri="{FF2B5EF4-FFF2-40B4-BE49-F238E27FC236}">
                  <a16:creationId xmlns:a16="http://schemas.microsoft.com/office/drawing/2014/main" id="{D7068E67-A245-41BE-8715-DA3C55D1108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465420" y="5172838"/>
              <a:ext cx="377785" cy="427037"/>
              <a:chOff x="3610704" y="973482"/>
              <a:chExt cx="874205" cy="856259"/>
            </a:xfrm>
          </p:grpSpPr>
          <p:sp>
            <p:nvSpPr>
              <p:cNvPr id="324" name="Freeform 223">
                <a:extLst>
                  <a:ext uri="{FF2B5EF4-FFF2-40B4-BE49-F238E27FC236}">
                    <a16:creationId xmlns:a16="http://schemas.microsoft.com/office/drawing/2014/main" id="{66A298A4-1837-4F5E-A135-DC1192B04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0704" y="973482"/>
                <a:ext cx="874205" cy="856259"/>
              </a:xfrm>
              <a:custGeom>
                <a:avLst/>
                <a:gdLst>
                  <a:gd name="T0" fmla="*/ 2147483646 w 144"/>
                  <a:gd name="T1" fmla="*/ 2147483646 h 141"/>
                  <a:gd name="T2" fmla="*/ 2147483646 w 144"/>
                  <a:gd name="T3" fmla="*/ 2147483646 h 141"/>
                  <a:gd name="T4" fmla="*/ 2147483646 w 144"/>
                  <a:gd name="T5" fmla="*/ 2147483646 h 141"/>
                  <a:gd name="T6" fmla="*/ 0 w 144"/>
                  <a:gd name="T7" fmla="*/ 2147483646 h 141"/>
                  <a:gd name="T8" fmla="*/ 0 w 144"/>
                  <a:gd name="T9" fmla="*/ 2147483646 h 141"/>
                  <a:gd name="T10" fmla="*/ 2147483646 w 144"/>
                  <a:gd name="T11" fmla="*/ 0 h 141"/>
                  <a:gd name="T12" fmla="*/ 2147483646 w 144"/>
                  <a:gd name="T13" fmla="*/ 0 h 141"/>
                  <a:gd name="T14" fmla="*/ 2147483646 w 144"/>
                  <a:gd name="T15" fmla="*/ 2147483646 h 141"/>
                  <a:gd name="T16" fmla="*/ 2147483646 w 144"/>
                  <a:gd name="T17" fmla="*/ 2147483646 h 1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4" h="141">
                    <a:moveTo>
                      <a:pt x="144" y="138"/>
                    </a:moveTo>
                    <a:cubicBezTo>
                      <a:pt x="144" y="139"/>
                      <a:pt x="142" y="141"/>
                      <a:pt x="140" y="141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2" y="141"/>
                      <a:pt x="0" y="139"/>
                      <a:pt x="0" y="13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2" y="0"/>
                      <a:pt x="144" y="2"/>
                      <a:pt x="144" y="3"/>
                    </a:cubicBezTo>
                    <a:lnTo>
                      <a:pt x="144" y="138"/>
                    </a:ln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5" name="Freeform 224">
                <a:extLst>
                  <a:ext uri="{FF2B5EF4-FFF2-40B4-BE49-F238E27FC236}">
                    <a16:creationId xmlns:a16="http://schemas.microsoft.com/office/drawing/2014/main" id="{DE5342A1-5517-4175-82A5-D22B86BF4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4541" y="1017064"/>
                <a:ext cx="763968" cy="771659"/>
              </a:xfrm>
              <a:custGeom>
                <a:avLst/>
                <a:gdLst>
                  <a:gd name="T0" fmla="*/ 2147483646 w 126"/>
                  <a:gd name="T1" fmla="*/ 2147483646 h 127"/>
                  <a:gd name="T2" fmla="*/ 2147483646 w 126"/>
                  <a:gd name="T3" fmla="*/ 2147483646 h 127"/>
                  <a:gd name="T4" fmla="*/ 2147483646 w 126"/>
                  <a:gd name="T5" fmla="*/ 2147483646 h 127"/>
                  <a:gd name="T6" fmla="*/ 0 w 126"/>
                  <a:gd name="T7" fmla="*/ 2147483646 h 127"/>
                  <a:gd name="T8" fmla="*/ 0 w 126"/>
                  <a:gd name="T9" fmla="*/ 2147483646 h 127"/>
                  <a:gd name="T10" fmla="*/ 2147483646 w 126"/>
                  <a:gd name="T11" fmla="*/ 0 h 127"/>
                  <a:gd name="T12" fmla="*/ 2147483646 w 126"/>
                  <a:gd name="T13" fmla="*/ 0 h 127"/>
                  <a:gd name="T14" fmla="*/ 2147483646 w 126"/>
                  <a:gd name="T15" fmla="*/ 2147483646 h 127"/>
                  <a:gd name="T16" fmla="*/ 2147483646 w 126"/>
                  <a:gd name="T17" fmla="*/ 2147483646 h 1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6" h="127">
                    <a:moveTo>
                      <a:pt x="126" y="123"/>
                    </a:moveTo>
                    <a:cubicBezTo>
                      <a:pt x="126" y="125"/>
                      <a:pt x="124" y="127"/>
                      <a:pt x="123" y="127"/>
                    </a:cubicBezTo>
                    <a:cubicBezTo>
                      <a:pt x="4" y="127"/>
                      <a:pt x="4" y="127"/>
                      <a:pt x="4" y="127"/>
                    </a:cubicBezTo>
                    <a:cubicBezTo>
                      <a:pt x="2" y="127"/>
                      <a:pt x="0" y="125"/>
                      <a:pt x="0" y="12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4" y="0"/>
                      <a:pt x="126" y="2"/>
                      <a:pt x="126" y="4"/>
                    </a:cubicBezTo>
                    <a:lnTo>
                      <a:pt x="126" y="123"/>
                    </a:lnTo>
                    <a:close/>
                  </a:path>
                </a:pathLst>
              </a:cu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6" name="Oval 225">
                <a:extLst>
                  <a:ext uri="{FF2B5EF4-FFF2-40B4-BE49-F238E27FC236}">
                    <a16:creationId xmlns:a16="http://schemas.microsoft.com/office/drawing/2014/main" id="{512C98CB-C3D2-4E88-9271-3CD602769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0669" y="1168320"/>
                <a:ext cx="471712" cy="466584"/>
              </a:xfrm>
              <a:prstGeom prst="ellipse">
                <a:avLst/>
              </a:pr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7" name="Oval 226">
                <a:extLst>
                  <a:ext uri="{FF2B5EF4-FFF2-40B4-BE49-F238E27FC236}">
                    <a16:creationId xmlns:a16="http://schemas.microsoft.com/office/drawing/2014/main" id="{02BC1614-BC38-483A-9AEB-48ECECF20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5269" y="1368284"/>
                <a:ext cx="66655" cy="66655"/>
              </a:xfrm>
              <a:prstGeom prst="ellipse">
                <a:avLst/>
              </a:pr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8" name="Oval 227">
                <a:extLst>
                  <a:ext uri="{FF2B5EF4-FFF2-40B4-BE49-F238E27FC236}">
                    <a16:creationId xmlns:a16="http://schemas.microsoft.com/office/drawing/2014/main" id="{AE4CA7A1-3AF0-4D17-9A7E-7567DF2369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1125" y="1368284"/>
                <a:ext cx="66655" cy="66655"/>
              </a:xfrm>
              <a:prstGeom prst="ellipse">
                <a:avLst/>
              </a:prstGeom>
              <a:solidFill>
                <a:srgbClr val="39B5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9" name="AutoShape 382">
              <a:extLst>
                <a:ext uri="{FF2B5EF4-FFF2-40B4-BE49-F238E27FC236}">
                  <a16:creationId xmlns:a16="http://schemas.microsoft.com/office/drawing/2014/main" id="{7B0E9293-520F-4792-BA04-2ADA99D97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7456" y="3587456"/>
              <a:ext cx="2037352" cy="855663"/>
            </a:xfrm>
            <a:prstGeom prst="leftRightArrow">
              <a:avLst>
                <a:gd name="adj1" fmla="val 50000"/>
                <a:gd name="adj2" fmla="val 26289"/>
              </a:avLst>
            </a:prstGeom>
            <a:solidFill>
              <a:srgbClr val="0070C0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Tx/>
                <a:buNone/>
              </a:pPr>
              <a:endParaRPr lang="zh-CN" altLang="en-US" b="1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Text Box 220">
              <a:extLst>
                <a:ext uri="{FF2B5EF4-FFF2-40B4-BE49-F238E27FC236}">
                  <a16:creationId xmlns:a16="http://schemas.microsoft.com/office/drawing/2014/main" id="{E17EE37D-66B9-4942-94DE-014FF2909CB6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867155" y="3851362"/>
              <a:ext cx="1589137" cy="2894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Tx/>
                <a:buNone/>
              </a:pPr>
              <a:r>
                <a:rPr lang="en-US" altLang="zh-CN" sz="2000" b="1" dirty="0">
                  <a:solidFill>
                    <a:srgbClr val="FFFFFF"/>
                  </a:solidFill>
                  <a:latin typeface="Times New Roman" panose="0202060305040502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Interaction</a:t>
              </a:r>
              <a:endParaRPr lang="zh-CN" altLang="en-US" sz="2000" b="1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F1072D7B-445A-4E61-BEC3-C4A88C280629}"/>
                </a:ext>
              </a:extLst>
            </p:cNvPr>
            <p:cNvGrpSpPr/>
            <p:nvPr/>
          </p:nvGrpSpPr>
          <p:grpSpPr bwMode="auto">
            <a:xfrm>
              <a:off x="4393972" y="4355111"/>
              <a:ext cx="1503169" cy="1083528"/>
              <a:chOff x="1289923" y="131761"/>
              <a:chExt cx="6245130" cy="2025651"/>
            </a:xfrm>
            <a:solidFill>
              <a:schemeClr val="tx2"/>
            </a:solidFill>
          </p:grpSpPr>
          <p:sp>
            <p:nvSpPr>
              <p:cNvPr id="89" name="Freeform 15">
                <a:extLst>
                  <a:ext uri="{FF2B5EF4-FFF2-40B4-BE49-F238E27FC236}">
                    <a16:creationId xmlns:a16="http://schemas.microsoft.com/office/drawing/2014/main" id="{510C2136-4BFF-4A9E-9E14-E69E29A5A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194" y="131761"/>
                <a:ext cx="150813" cy="989013"/>
              </a:xfrm>
              <a:custGeom>
                <a:avLst/>
                <a:gdLst>
                  <a:gd name="T0" fmla="*/ 86 w 95"/>
                  <a:gd name="T1" fmla="*/ 623 h 623"/>
                  <a:gd name="T2" fmla="*/ 47 w 95"/>
                  <a:gd name="T3" fmla="*/ 64 h 623"/>
                  <a:gd name="T4" fmla="*/ 8 w 95"/>
                  <a:gd name="T5" fmla="*/ 623 h 623"/>
                  <a:gd name="T6" fmla="*/ 0 w 95"/>
                  <a:gd name="T7" fmla="*/ 623 h 623"/>
                  <a:gd name="T8" fmla="*/ 43 w 95"/>
                  <a:gd name="T9" fmla="*/ 0 h 623"/>
                  <a:gd name="T10" fmla="*/ 51 w 95"/>
                  <a:gd name="T11" fmla="*/ 0 h 623"/>
                  <a:gd name="T12" fmla="*/ 95 w 95"/>
                  <a:gd name="T13" fmla="*/ 623 h 623"/>
                  <a:gd name="T14" fmla="*/ 86 w 95"/>
                  <a:gd name="T15" fmla="*/ 623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623">
                    <a:moveTo>
                      <a:pt x="86" y="623"/>
                    </a:moveTo>
                    <a:lnTo>
                      <a:pt x="47" y="64"/>
                    </a:lnTo>
                    <a:lnTo>
                      <a:pt x="8" y="623"/>
                    </a:lnTo>
                    <a:lnTo>
                      <a:pt x="0" y="623"/>
                    </a:lnTo>
                    <a:lnTo>
                      <a:pt x="43" y="0"/>
                    </a:lnTo>
                    <a:lnTo>
                      <a:pt x="51" y="0"/>
                    </a:lnTo>
                    <a:lnTo>
                      <a:pt x="95" y="623"/>
                    </a:lnTo>
                    <a:lnTo>
                      <a:pt x="86" y="6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0" name="Freeform 16">
                <a:extLst>
                  <a:ext uri="{FF2B5EF4-FFF2-40B4-BE49-F238E27FC236}">
                    <a16:creationId xmlns:a16="http://schemas.microsoft.com/office/drawing/2014/main" id="{D9AF5E54-BBE7-4233-9BF5-CA2493E27C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3356" y="1209674"/>
                <a:ext cx="342900" cy="947738"/>
              </a:xfrm>
              <a:custGeom>
                <a:avLst/>
                <a:gdLst>
                  <a:gd name="T0" fmla="*/ 216 w 216"/>
                  <a:gd name="T1" fmla="*/ 597 h 597"/>
                  <a:gd name="T2" fmla="*/ 0 w 216"/>
                  <a:gd name="T3" fmla="*/ 597 h 597"/>
                  <a:gd name="T4" fmla="*/ 56 w 216"/>
                  <a:gd name="T5" fmla="*/ 0 h 597"/>
                  <a:gd name="T6" fmla="*/ 65 w 216"/>
                  <a:gd name="T7" fmla="*/ 0 h 597"/>
                  <a:gd name="T8" fmla="*/ 13 w 216"/>
                  <a:gd name="T9" fmla="*/ 584 h 597"/>
                  <a:gd name="T10" fmla="*/ 207 w 216"/>
                  <a:gd name="T11" fmla="*/ 584 h 597"/>
                  <a:gd name="T12" fmla="*/ 151 w 216"/>
                  <a:gd name="T13" fmla="*/ 0 h 597"/>
                  <a:gd name="T14" fmla="*/ 160 w 216"/>
                  <a:gd name="T15" fmla="*/ 0 h 597"/>
                  <a:gd name="T16" fmla="*/ 216 w 216"/>
                  <a:gd name="T17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" h="597">
                    <a:moveTo>
                      <a:pt x="216" y="597"/>
                    </a:moveTo>
                    <a:lnTo>
                      <a:pt x="0" y="597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13" y="584"/>
                    </a:lnTo>
                    <a:lnTo>
                      <a:pt x="207" y="584"/>
                    </a:lnTo>
                    <a:lnTo>
                      <a:pt x="151" y="0"/>
                    </a:lnTo>
                    <a:lnTo>
                      <a:pt x="160" y="0"/>
                    </a:lnTo>
                    <a:lnTo>
                      <a:pt x="216" y="5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1" name="Freeform 17">
                <a:extLst>
                  <a:ext uri="{FF2B5EF4-FFF2-40B4-BE49-F238E27FC236}">
                    <a16:creationId xmlns:a16="http://schemas.microsoft.com/office/drawing/2014/main" id="{CDB77C07-7B47-4B14-A8ED-AB0897055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819" y="481011"/>
                <a:ext cx="260350" cy="90488"/>
              </a:xfrm>
              <a:custGeom>
                <a:avLst/>
                <a:gdLst>
                  <a:gd name="T0" fmla="*/ 155 w 164"/>
                  <a:gd name="T1" fmla="*/ 57 h 57"/>
                  <a:gd name="T2" fmla="*/ 0 w 164"/>
                  <a:gd name="T3" fmla="*/ 0 h 57"/>
                  <a:gd name="T4" fmla="*/ 164 w 164"/>
                  <a:gd name="T5" fmla="*/ 0 h 57"/>
                  <a:gd name="T6" fmla="*/ 164 w 164"/>
                  <a:gd name="T7" fmla="*/ 9 h 57"/>
                  <a:gd name="T8" fmla="*/ 47 w 164"/>
                  <a:gd name="T9" fmla="*/ 9 h 57"/>
                  <a:gd name="T10" fmla="*/ 160 w 164"/>
                  <a:gd name="T11" fmla="*/ 48 h 57"/>
                  <a:gd name="T12" fmla="*/ 155 w 164"/>
                  <a:gd name="T1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57">
                    <a:moveTo>
                      <a:pt x="155" y="57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9"/>
                    </a:lnTo>
                    <a:lnTo>
                      <a:pt x="47" y="9"/>
                    </a:lnTo>
                    <a:lnTo>
                      <a:pt x="160" y="48"/>
                    </a:lnTo>
                    <a:lnTo>
                      <a:pt x="155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2" name="Freeform 18">
                <a:extLst>
                  <a:ext uri="{FF2B5EF4-FFF2-40B4-BE49-F238E27FC236}">
                    <a16:creationId xmlns:a16="http://schemas.microsoft.com/office/drawing/2014/main" id="{858F49F9-5980-428A-B7A8-677F132E4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794" y="481011"/>
                <a:ext cx="261938" cy="90488"/>
              </a:xfrm>
              <a:custGeom>
                <a:avLst/>
                <a:gdLst>
                  <a:gd name="T0" fmla="*/ 5 w 165"/>
                  <a:gd name="T1" fmla="*/ 57 h 57"/>
                  <a:gd name="T2" fmla="*/ 0 w 165"/>
                  <a:gd name="T3" fmla="*/ 48 h 57"/>
                  <a:gd name="T4" fmla="*/ 113 w 165"/>
                  <a:gd name="T5" fmla="*/ 9 h 57"/>
                  <a:gd name="T6" fmla="*/ 0 w 165"/>
                  <a:gd name="T7" fmla="*/ 9 h 57"/>
                  <a:gd name="T8" fmla="*/ 0 w 165"/>
                  <a:gd name="T9" fmla="*/ 0 h 57"/>
                  <a:gd name="T10" fmla="*/ 165 w 165"/>
                  <a:gd name="T11" fmla="*/ 0 h 57"/>
                  <a:gd name="T12" fmla="*/ 5 w 165"/>
                  <a:gd name="T1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5" h="57">
                    <a:moveTo>
                      <a:pt x="5" y="57"/>
                    </a:moveTo>
                    <a:lnTo>
                      <a:pt x="0" y="48"/>
                    </a:lnTo>
                    <a:lnTo>
                      <a:pt x="113" y="9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165" y="0"/>
                    </a:lnTo>
                    <a:lnTo>
                      <a:pt x="5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3" name="Freeform 19">
                <a:extLst>
                  <a:ext uri="{FF2B5EF4-FFF2-40B4-BE49-F238E27FC236}">
                    <a16:creationId xmlns:a16="http://schemas.microsoft.com/office/drawing/2014/main" id="{EC4DF9B8-7AE4-4C9B-BB19-24502E491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2431" y="804861"/>
                <a:ext cx="522288" cy="123825"/>
              </a:xfrm>
              <a:custGeom>
                <a:avLst/>
                <a:gdLst>
                  <a:gd name="T0" fmla="*/ 329 w 329"/>
                  <a:gd name="T1" fmla="*/ 78 h 78"/>
                  <a:gd name="T2" fmla="*/ 5 w 329"/>
                  <a:gd name="T3" fmla="*/ 78 h 78"/>
                  <a:gd name="T4" fmla="*/ 5 w 329"/>
                  <a:gd name="T5" fmla="*/ 69 h 78"/>
                  <a:gd name="T6" fmla="*/ 281 w 329"/>
                  <a:gd name="T7" fmla="*/ 69 h 78"/>
                  <a:gd name="T8" fmla="*/ 0 w 329"/>
                  <a:gd name="T9" fmla="*/ 13 h 78"/>
                  <a:gd name="T10" fmla="*/ 0 w 329"/>
                  <a:gd name="T11" fmla="*/ 0 h 78"/>
                  <a:gd name="T12" fmla="*/ 329 w 329"/>
                  <a:gd name="T13" fmla="*/ 69 h 78"/>
                  <a:gd name="T14" fmla="*/ 329 w 329"/>
                  <a:gd name="T1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9" h="78">
                    <a:moveTo>
                      <a:pt x="329" y="78"/>
                    </a:moveTo>
                    <a:lnTo>
                      <a:pt x="5" y="78"/>
                    </a:lnTo>
                    <a:lnTo>
                      <a:pt x="5" y="69"/>
                    </a:lnTo>
                    <a:lnTo>
                      <a:pt x="281" y="6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329" y="69"/>
                    </a:lnTo>
                    <a:lnTo>
                      <a:pt x="329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4" name="Freeform 20">
                <a:extLst>
                  <a:ext uri="{FF2B5EF4-FFF2-40B4-BE49-F238E27FC236}">
                    <a16:creationId xmlns:a16="http://schemas.microsoft.com/office/drawing/2014/main" id="{7B18A4B8-F613-4A7A-9F84-F06DD830D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804861"/>
                <a:ext cx="528638" cy="123825"/>
              </a:xfrm>
              <a:custGeom>
                <a:avLst/>
                <a:gdLst>
                  <a:gd name="T0" fmla="*/ 325 w 333"/>
                  <a:gd name="T1" fmla="*/ 78 h 78"/>
                  <a:gd name="T2" fmla="*/ 0 w 333"/>
                  <a:gd name="T3" fmla="*/ 78 h 78"/>
                  <a:gd name="T4" fmla="*/ 0 w 333"/>
                  <a:gd name="T5" fmla="*/ 69 h 78"/>
                  <a:gd name="T6" fmla="*/ 329 w 333"/>
                  <a:gd name="T7" fmla="*/ 0 h 78"/>
                  <a:gd name="T8" fmla="*/ 333 w 333"/>
                  <a:gd name="T9" fmla="*/ 13 h 78"/>
                  <a:gd name="T10" fmla="*/ 48 w 333"/>
                  <a:gd name="T11" fmla="*/ 69 h 78"/>
                  <a:gd name="T12" fmla="*/ 325 w 333"/>
                  <a:gd name="T13" fmla="*/ 69 h 78"/>
                  <a:gd name="T14" fmla="*/ 325 w 333"/>
                  <a:gd name="T1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3" h="78">
                    <a:moveTo>
                      <a:pt x="325" y="78"/>
                    </a:moveTo>
                    <a:lnTo>
                      <a:pt x="0" y="78"/>
                    </a:lnTo>
                    <a:lnTo>
                      <a:pt x="0" y="69"/>
                    </a:lnTo>
                    <a:lnTo>
                      <a:pt x="329" y="0"/>
                    </a:lnTo>
                    <a:lnTo>
                      <a:pt x="333" y="13"/>
                    </a:lnTo>
                    <a:lnTo>
                      <a:pt x="48" y="69"/>
                    </a:lnTo>
                    <a:lnTo>
                      <a:pt x="325" y="69"/>
                    </a:lnTo>
                    <a:lnTo>
                      <a:pt x="325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5" name="Freeform 21">
                <a:extLst>
                  <a:ext uri="{FF2B5EF4-FFF2-40B4-BE49-F238E27FC236}">
                    <a16:creationId xmlns:a16="http://schemas.microsoft.com/office/drawing/2014/main" id="{5AD2C40B-E91A-46C2-B6A3-1C48D9A9C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9994" y="1106486"/>
                <a:ext cx="342900" cy="109538"/>
              </a:xfrm>
              <a:custGeom>
                <a:avLst/>
                <a:gdLst>
                  <a:gd name="T0" fmla="*/ 212 w 216"/>
                  <a:gd name="T1" fmla="*/ 69 h 69"/>
                  <a:gd name="T2" fmla="*/ 0 w 216"/>
                  <a:gd name="T3" fmla="*/ 69 h 69"/>
                  <a:gd name="T4" fmla="*/ 216 w 216"/>
                  <a:gd name="T5" fmla="*/ 0 h 69"/>
                  <a:gd name="T6" fmla="*/ 212 w 216"/>
                  <a:gd name="T7" fmla="*/ 69 h 69"/>
                  <a:gd name="T8" fmla="*/ 61 w 216"/>
                  <a:gd name="T9" fmla="*/ 61 h 69"/>
                  <a:gd name="T10" fmla="*/ 203 w 216"/>
                  <a:gd name="T11" fmla="*/ 61 h 69"/>
                  <a:gd name="T12" fmla="*/ 208 w 216"/>
                  <a:gd name="T13" fmla="*/ 13 h 69"/>
                  <a:gd name="T14" fmla="*/ 61 w 216"/>
                  <a:gd name="T15" fmla="*/ 6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6" h="69">
                    <a:moveTo>
                      <a:pt x="212" y="69"/>
                    </a:moveTo>
                    <a:lnTo>
                      <a:pt x="0" y="69"/>
                    </a:lnTo>
                    <a:lnTo>
                      <a:pt x="216" y="0"/>
                    </a:lnTo>
                    <a:lnTo>
                      <a:pt x="212" y="69"/>
                    </a:lnTo>
                    <a:close/>
                    <a:moveTo>
                      <a:pt x="61" y="61"/>
                    </a:moveTo>
                    <a:lnTo>
                      <a:pt x="203" y="61"/>
                    </a:lnTo>
                    <a:lnTo>
                      <a:pt x="208" y="13"/>
                    </a:lnTo>
                    <a:lnTo>
                      <a:pt x="61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6" name="Freeform 22">
                <a:extLst>
                  <a:ext uri="{FF2B5EF4-FFF2-40B4-BE49-F238E27FC236}">
                    <a16:creationId xmlns:a16="http://schemas.microsoft.com/office/drawing/2014/main" id="{E66AEF66-30C6-4F8D-882C-4A5CAC487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16719" y="1106486"/>
                <a:ext cx="342900" cy="109538"/>
              </a:xfrm>
              <a:custGeom>
                <a:avLst/>
                <a:gdLst>
                  <a:gd name="T0" fmla="*/ 216 w 216"/>
                  <a:gd name="T1" fmla="*/ 69 h 69"/>
                  <a:gd name="T2" fmla="*/ 4 w 216"/>
                  <a:gd name="T3" fmla="*/ 69 h 69"/>
                  <a:gd name="T4" fmla="*/ 0 w 216"/>
                  <a:gd name="T5" fmla="*/ 0 h 69"/>
                  <a:gd name="T6" fmla="*/ 216 w 216"/>
                  <a:gd name="T7" fmla="*/ 69 h 69"/>
                  <a:gd name="T8" fmla="*/ 13 w 216"/>
                  <a:gd name="T9" fmla="*/ 61 h 69"/>
                  <a:gd name="T10" fmla="*/ 156 w 216"/>
                  <a:gd name="T11" fmla="*/ 61 h 69"/>
                  <a:gd name="T12" fmla="*/ 9 w 216"/>
                  <a:gd name="T13" fmla="*/ 13 h 69"/>
                  <a:gd name="T14" fmla="*/ 13 w 216"/>
                  <a:gd name="T15" fmla="*/ 6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6" h="69">
                    <a:moveTo>
                      <a:pt x="216" y="69"/>
                    </a:moveTo>
                    <a:lnTo>
                      <a:pt x="4" y="69"/>
                    </a:lnTo>
                    <a:lnTo>
                      <a:pt x="0" y="0"/>
                    </a:lnTo>
                    <a:lnTo>
                      <a:pt x="216" y="69"/>
                    </a:lnTo>
                    <a:close/>
                    <a:moveTo>
                      <a:pt x="13" y="61"/>
                    </a:moveTo>
                    <a:lnTo>
                      <a:pt x="156" y="61"/>
                    </a:lnTo>
                    <a:lnTo>
                      <a:pt x="9" y="13"/>
                    </a:lnTo>
                    <a:lnTo>
                      <a:pt x="1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7" name="Freeform 23">
                <a:extLst>
                  <a:ext uri="{FF2B5EF4-FFF2-40B4-BE49-F238E27FC236}">
                    <a16:creationId xmlns:a16="http://schemas.microsoft.com/office/drawing/2014/main" id="{012DDECB-3D01-479E-B1BB-5B048F7BB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706" y="2000249"/>
                <a:ext cx="315913" cy="150813"/>
              </a:xfrm>
              <a:custGeom>
                <a:avLst/>
                <a:gdLst>
                  <a:gd name="T0" fmla="*/ 5 w 199"/>
                  <a:gd name="T1" fmla="*/ 95 h 95"/>
                  <a:gd name="T2" fmla="*/ 0 w 199"/>
                  <a:gd name="T3" fmla="*/ 90 h 95"/>
                  <a:gd name="T4" fmla="*/ 199 w 199"/>
                  <a:gd name="T5" fmla="*/ 0 h 95"/>
                  <a:gd name="T6" fmla="*/ 199 w 199"/>
                  <a:gd name="T7" fmla="*/ 8 h 95"/>
                  <a:gd name="T8" fmla="*/ 5 w 199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9" h="95">
                    <a:moveTo>
                      <a:pt x="5" y="95"/>
                    </a:moveTo>
                    <a:lnTo>
                      <a:pt x="0" y="90"/>
                    </a:lnTo>
                    <a:lnTo>
                      <a:pt x="199" y="0"/>
                    </a:lnTo>
                    <a:lnTo>
                      <a:pt x="199" y="8"/>
                    </a:lnTo>
                    <a:lnTo>
                      <a:pt x="5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8" name="Freeform 24">
                <a:extLst>
                  <a:ext uri="{FF2B5EF4-FFF2-40B4-BE49-F238E27FC236}">
                    <a16:creationId xmlns:a16="http://schemas.microsoft.com/office/drawing/2014/main" id="{ED2286D7-AF97-4AD9-B6EE-C91B81215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994" y="2000249"/>
                <a:ext cx="315913" cy="150813"/>
              </a:xfrm>
              <a:custGeom>
                <a:avLst/>
                <a:gdLst>
                  <a:gd name="T0" fmla="*/ 199 w 199"/>
                  <a:gd name="T1" fmla="*/ 95 h 95"/>
                  <a:gd name="T2" fmla="*/ 0 w 199"/>
                  <a:gd name="T3" fmla="*/ 8 h 95"/>
                  <a:gd name="T4" fmla="*/ 4 w 199"/>
                  <a:gd name="T5" fmla="*/ 0 h 95"/>
                  <a:gd name="T6" fmla="*/ 199 w 199"/>
                  <a:gd name="T7" fmla="*/ 90 h 95"/>
                  <a:gd name="T8" fmla="*/ 199 w 199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9" h="95">
                    <a:moveTo>
                      <a:pt x="199" y="95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199" y="90"/>
                    </a:lnTo>
                    <a:lnTo>
                      <a:pt x="199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E8AAFBFB-5F34-4B5D-A89E-F88756982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994" y="1889124"/>
                <a:ext cx="295275" cy="123825"/>
              </a:xfrm>
              <a:custGeom>
                <a:avLst/>
                <a:gdLst>
                  <a:gd name="T0" fmla="*/ 4 w 186"/>
                  <a:gd name="T1" fmla="*/ 78 h 78"/>
                  <a:gd name="T2" fmla="*/ 0 w 186"/>
                  <a:gd name="T3" fmla="*/ 70 h 78"/>
                  <a:gd name="T4" fmla="*/ 181 w 186"/>
                  <a:gd name="T5" fmla="*/ 0 h 78"/>
                  <a:gd name="T6" fmla="*/ 186 w 186"/>
                  <a:gd name="T7" fmla="*/ 9 h 78"/>
                  <a:gd name="T8" fmla="*/ 4 w 186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78">
                    <a:moveTo>
                      <a:pt x="4" y="78"/>
                    </a:moveTo>
                    <a:lnTo>
                      <a:pt x="0" y="70"/>
                    </a:lnTo>
                    <a:lnTo>
                      <a:pt x="181" y="0"/>
                    </a:lnTo>
                    <a:lnTo>
                      <a:pt x="186" y="9"/>
                    </a:lnTo>
                    <a:lnTo>
                      <a:pt x="4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2B834045-3D9D-4E55-B463-3F7F5D503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0344" y="1889124"/>
                <a:ext cx="295275" cy="123825"/>
              </a:xfrm>
              <a:custGeom>
                <a:avLst/>
                <a:gdLst>
                  <a:gd name="T0" fmla="*/ 186 w 186"/>
                  <a:gd name="T1" fmla="*/ 78 h 78"/>
                  <a:gd name="T2" fmla="*/ 0 w 186"/>
                  <a:gd name="T3" fmla="*/ 9 h 78"/>
                  <a:gd name="T4" fmla="*/ 5 w 186"/>
                  <a:gd name="T5" fmla="*/ 0 h 78"/>
                  <a:gd name="T6" fmla="*/ 186 w 186"/>
                  <a:gd name="T7" fmla="*/ 70 h 78"/>
                  <a:gd name="T8" fmla="*/ 186 w 186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78">
                    <a:moveTo>
                      <a:pt x="186" y="78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186" y="70"/>
                    </a:lnTo>
                    <a:lnTo>
                      <a:pt x="186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1" name="Freeform 27">
                <a:extLst>
                  <a:ext uri="{FF2B5EF4-FFF2-40B4-BE49-F238E27FC236}">
                    <a16:creationId xmlns:a16="http://schemas.microsoft.com/office/drawing/2014/main" id="{A4834681-AECA-4C87-BE83-6873A9950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0344" y="1779586"/>
                <a:ext cx="274638" cy="123825"/>
              </a:xfrm>
              <a:custGeom>
                <a:avLst/>
                <a:gdLst>
                  <a:gd name="T0" fmla="*/ 5 w 173"/>
                  <a:gd name="T1" fmla="*/ 78 h 78"/>
                  <a:gd name="T2" fmla="*/ 0 w 173"/>
                  <a:gd name="T3" fmla="*/ 69 h 78"/>
                  <a:gd name="T4" fmla="*/ 173 w 173"/>
                  <a:gd name="T5" fmla="*/ 0 h 78"/>
                  <a:gd name="T6" fmla="*/ 173 w 173"/>
                  <a:gd name="T7" fmla="*/ 9 h 78"/>
                  <a:gd name="T8" fmla="*/ 5 w 173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78">
                    <a:moveTo>
                      <a:pt x="5" y="78"/>
                    </a:moveTo>
                    <a:lnTo>
                      <a:pt x="0" y="69"/>
                    </a:lnTo>
                    <a:lnTo>
                      <a:pt x="173" y="0"/>
                    </a:lnTo>
                    <a:lnTo>
                      <a:pt x="173" y="9"/>
                    </a:lnTo>
                    <a:lnTo>
                      <a:pt x="5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2" name="Freeform 28">
                <a:extLst>
                  <a:ext uri="{FF2B5EF4-FFF2-40B4-BE49-F238E27FC236}">
                    <a16:creationId xmlns:a16="http://schemas.microsoft.com/office/drawing/2014/main" id="{7F20F384-866E-4DFF-BBA4-E6127667B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631" y="1779586"/>
                <a:ext cx="274638" cy="123825"/>
              </a:xfrm>
              <a:custGeom>
                <a:avLst/>
                <a:gdLst>
                  <a:gd name="T0" fmla="*/ 168 w 173"/>
                  <a:gd name="T1" fmla="*/ 78 h 78"/>
                  <a:gd name="T2" fmla="*/ 0 w 173"/>
                  <a:gd name="T3" fmla="*/ 9 h 78"/>
                  <a:gd name="T4" fmla="*/ 4 w 173"/>
                  <a:gd name="T5" fmla="*/ 0 h 78"/>
                  <a:gd name="T6" fmla="*/ 173 w 173"/>
                  <a:gd name="T7" fmla="*/ 69 h 78"/>
                  <a:gd name="T8" fmla="*/ 168 w 173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78">
                    <a:moveTo>
                      <a:pt x="168" y="78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73" y="69"/>
                    </a:lnTo>
                    <a:lnTo>
                      <a:pt x="168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17145B35-C677-45F6-BF1C-482E2C85C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631" y="1670049"/>
                <a:ext cx="254000" cy="123825"/>
              </a:xfrm>
              <a:custGeom>
                <a:avLst/>
                <a:gdLst>
                  <a:gd name="T0" fmla="*/ 4 w 160"/>
                  <a:gd name="T1" fmla="*/ 78 h 78"/>
                  <a:gd name="T2" fmla="*/ 0 w 160"/>
                  <a:gd name="T3" fmla="*/ 69 h 78"/>
                  <a:gd name="T4" fmla="*/ 156 w 160"/>
                  <a:gd name="T5" fmla="*/ 0 h 78"/>
                  <a:gd name="T6" fmla="*/ 160 w 160"/>
                  <a:gd name="T7" fmla="*/ 9 h 78"/>
                  <a:gd name="T8" fmla="*/ 4 w 160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78">
                    <a:moveTo>
                      <a:pt x="4" y="78"/>
                    </a:moveTo>
                    <a:lnTo>
                      <a:pt x="0" y="69"/>
                    </a:lnTo>
                    <a:lnTo>
                      <a:pt x="156" y="0"/>
                    </a:lnTo>
                    <a:lnTo>
                      <a:pt x="160" y="9"/>
                    </a:lnTo>
                    <a:lnTo>
                      <a:pt x="4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4" name="Freeform 30">
                <a:extLst>
                  <a:ext uri="{FF2B5EF4-FFF2-40B4-BE49-F238E27FC236}">
                    <a16:creationId xmlns:a16="http://schemas.microsoft.com/office/drawing/2014/main" id="{A6865ECA-6D77-4D9C-B559-333DDE5AA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981" y="1684336"/>
                <a:ext cx="254000" cy="109538"/>
              </a:xfrm>
              <a:custGeom>
                <a:avLst/>
                <a:gdLst>
                  <a:gd name="T0" fmla="*/ 160 w 160"/>
                  <a:gd name="T1" fmla="*/ 69 h 69"/>
                  <a:gd name="T2" fmla="*/ 0 w 160"/>
                  <a:gd name="T3" fmla="*/ 8 h 69"/>
                  <a:gd name="T4" fmla="*/ 5 w 160"/>
                  <a:gd name="T5" fmla="*/ 0 h 69"/>
                  <a:gd name="T6" fmla="*/ 160 w 160"/>
                  <a:gd name="T7" fmla="*/ 60 h 69"/>
                  <a:gd name="T8" fmla="*/ 160 w 160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69">
                    <a:moveTo>
                      <a:pt x="160" y="69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160" y="60"/>
                    </a:lnTo>
                    <a:lnTo>
                      <a:pt x="160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Freeform 31">
                <a:extLst>
                  <a:ext uri="{FF2B5EF4-FFF2-40B4-BE49-F238E27FC236}">
                    <a16:creationId xmlns:a16="http://schemas.microsoft.com/office/drawing/2014/main" id="{F0EC060F-FE66-450D-BAC3-615CFD56A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981" y="1581149"/>
                <a:ext cx="241300" cy="115888"/>
              </a:xfrm>
              <a:custGeom>
                <a:avLst/>
                <a:gdLst>
                  <a:gd name="T0" fmla="*/ 5 w 152"/>
                  <a:gd name="T1" fmla="*/ 73 h 73"/>
                  <a:gd name="T2" fmla="*/ 0 w 152"/>
                  <a:gd name="T3" fmla="*/ 65 h 73"/>
                  <a:gd name="T4" fmla="*/ 147 w 152"/>
                  <a:gd name="T5" fmla="*/ 0 h 73"/>
                  <a:gd name="T6" fmla="*/ 152 w 152"/>
                  <a:gd name="T7" fmla="*/ 8 h 73"/>
                  <a:gd name="T8" fmla="*/ 5 w 152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3">
                    <a:moveTo>
                      <a:pt x="5" y="73"/>
                    </a:moveTo>
                    <a:lnTo>
                      <a:pt x="0" y="65"/>
                    </a:lnTo>
                    <a:lnTo>
                      <a:pt x="147" y="0"/>
                    </a:lnTo>
                    <a:lnTo>
                      <a:pt x="152" y="8"/>
                    </a:lnTo>
                    <a:lnTo>
                      <a:pt x="5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6" name="Freeform 32">
                <a:extLst>
                  <a:ext uri="{FF2B5EF4-FFF2-40B4-BE49-F238E27FC236}">
                    <a16:creationId xmlns:a16="http://schemas.microsoft.com/office/drawing/2014/main" id="{A265A8FB-A42E-4D99-924E-77A34E6E1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5269" y="1581149"/>
                <a:ext cx="233363" cy="103188"/>
              </a:xfrm>
              <a:custGeom>
                <a:avLst/>
                <a:gdLst>
                  <a:gd name="T0" fmla="*/ 143 w 147"/>
                  <a:gd name="T1" fmla="*/ 65 h 65"/>
                  <a:gd name="T2" fmla="*/ 0 w 147"/>
                  <a:gd name="T3" fmla="*/ 8 h 65"/>
                  <a:gd name="T4" fmla="*/ 4 w 147"/>
                  <a:gd name="T5" fmla="*/ 0 h 65"/>
                  <a:gd name="T6" fmla="*/ 147 w 147"/>
                  <a:gd name="T7" fmla="*/ 56 h 65"/>
                  <a:gd name="T8" fmla="*/ 143 w 147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65">
                    <a:moveTo>
                      <a:pt x="143" y="65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147" y="56"/>
                    </a:lnTo>
                    <a:lnTo>
                      <a:pt x="14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Freeform 33">
                <a:extLst>
                  <a:ext uri="{FF2B5EF4-FFF2-40B4-BE49-F238E27FC236}">
                    <a16:creationId xmlns:a16="http://schemas.microsoft.com/office/drawing/2014/main" id="{4A766277-5E2B-4EDE-A820-97C5AA06E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5269" y="1484311"/>
                <a:ext cx="212725" cy="109538"/>
              </a:xfrm>
              <a:custGeom>
                <a:avLst/>
                <a:gdLst>
                  <a:gd name="T0" fmla="*/ 4 w 134"/>
                  <a:gd name="T1" fmla="*/ 69 h 69"/>
                  <a:gd name="T2" fmla="*/ 0 w 134"/>
                  <a:gd name="T3" fmla="*/ 61 h 69"/>
                  <a:gd name="T4" fmla="*/ 134 w 134"/>
                  <a:gd name="T5" fmla="*/ 0 h 69"/>
                  <a:gd name="T6" fmla="*/ 134 w 134"/>
                  <a:gd name="T7" fmla="*/ 9 h 69"/>
                  <a:gd name="T8" fmla="*/ 4 w 134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69">
                    <a:moveTo>
                      <a:pt x="4" y="69"/>
                    </a:moveTo>
                    <a:lnTo>
                      <a:pt x="0" y="61"/>
                    </a:lnTo>
                    <a:lnTo>
                      <a:pt x="134" y="0"/>
                    </a:lnTo>
                    <a:lnTo>
                      <a:pt x="134" y="9"/>
                    </a:lnTo>
                    <a:lnTo>
                      <a:pt x="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EAFEFEA0-43BC-46DA-B2CF-15E08B420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1619" y="1484311"/>
                <a:ext cx="220663" cy="109538"/>
              </a:xfrm>
              <a:custGeom>
                <a:avLst/>
                <a:gdLst>
                  <a:gd name="T0" fmla="*/ 134 w 139"/>
                  <a:gd name="T1" fmla="*/ 69 h 69"/>
                  <a:gd name="T2" fmla="*/ 0 w 139"/>
                  <a:gd name="T3" fmla="*/ 9 h 69"/>
                  <a:gd name="T4" fmla="*/ 5 w 139"/>
                  <a:gd name="T5" fmla="*/ 0 h 69"/>
                  <a:gd name="T6" fmla="*/ 139 w 139"/>
                  <a:gd name="T7" fmla="*/ 61 h 69"/>
                  <a:gd name="T8" fmla="*/ 134 w 139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69">
                    <a:moveTo>
                      <a:pt x="134" y="69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139" y="61"/>
                    </a:lnTo>
                    <a:lnTo>
                      <a:pt x="13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C52A0D16-E4C5-4E65-94D9-D7541F0CD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1619" y="1401761"/>
                <a:ext cx="200025" cy="96838"/>
              </a:xfrm>
              <a:custGeom>
                <a:avLst/>
                <a:gdLst>
                  <a:gd name="T0" fmla="*/ 5 w 126"/>
                  <a:gd name="T1" fmla="*/ 61 h 61"/>
                  <a:gd name="T2" fmla="*/ 0 w 126"/>
                  <a:gd name="T3" fmla="*/ 52 h 61"/>
                  <a:gd name="T4" fmla="*/ 121 w 126"/>
                  <a:gd name="T5" fmla="*/ 0 h 61"/>
                  <a:gd name="T6" fmla="*/ 126 w 126"/>
                  <a:gd name="T7" fmla="*/ 9 h 61"/>
                  <a:gd name="T8" fmla="*/ 5 w 126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61">
                    <a:moveTo>
                      <a:pt x="5" y="61"/>
                    </a:moveTo>
                    <a:lnTo>
                      <a:pt x="0" y="52"/>
                    </a:lnTo>
                    <a:lnTo>
                      <a:pt x="121" y="0"/>
                    </a:lnTo>
                    <a:lnTo>
                      <a:pt x="126" y="9"/>
                    </a:lnTo>
                    <a:lnTo>
                      <a:pt x="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AFEC1913-4FA1-4AAF-BB8D-469A2C543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556" y="1401761"/>
                <a:ext cx="198438" cy="96838"/>
              </a:xfrm>
              <a:custGeom>
                <a:avLst/>
                <a:gdLst>
                  <a:gd name="T0" fmla="*/ 125 w 125"/>
                  <a:gd name="T1" fmla="*/ 61 h 61"/>
                  <a:gd name="T2" fmla="*/ 0 w 125"/>
                  <a:gd name="T3" fmla="*/ 9 h 61"/>
                  <a:gd name="T4" fmla="*/ 4 w 125"/>
                  <a:gd name="T5" fmla="*/ 0 h 61"/>
                  <a:gd name="T6" fmla="*/ 125 w 125"/>
                  <a:gd name="T7" fmla="*/ 52 h 61"/>
                  <a:gd name="T8" fmla="*/ 125 w 12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1">
                    <a:moveTo>
                      <a:pt x="125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25" y="52"/>
                    </a:lnTo>
                    <a:lnTo>
                      <a:pt x="12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BE5A7E5B-0729-4A3D-9191-FDB717C80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556" y="1312861"/>
                <a:ext cx="184150" cy="103188"/>
              </a:xfrm>
              <a:custGeom>
                <a:avLst/>
                <a:gdLst>
                  <a:gd name="T0" fmla="*/ 4 w 116"/>
                  <a:gd name="T1" fmla="*/ 65 h 65"/>
                  <a:gd name="T2" fmla="*/ 0 w 116"/>
                  <a:gd name="T3" fmla="*/ 56 h 65"/>
                  <a:gd name="T4" fmla="*/ 112 w 116"/>
                  <a:gd name="T5" fmla="*/ 0 h 65"/>
                  <a:gd name="T6" fmla="*/ 116 w 116"/>
                  <a:gd name="T7" fmla="*/ 9 h 65"/>
                  <a:gd name="T8" fmla="*/ 4 w 116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65">
                    <a:moveTo>
                      <a:pt x="4" y="65"/>
                    </a:moveTo>
                    <a:lnTo>
                      <a:pt x="0" y="56"/>
                    </a:lnTo>
                    <a:lnTo>
                      <a:pt x="112" y="0"/>
                    </a:lnTo>
                    <a:lnTo>
                      <a:pt x="116" y="9"/>
                    </a:lnTo>
                    <a:lnTo>
                      <a:pt x="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Freeform 38">
                <a:extLst>
                  <a:ext uri="{FF2B5EF4-FFF2-40B4-BE49-F238E27FC236}">
                    <a16:creationId xmlns:a16="http://schemas.microsoft.com/office/drawing/2014/main" id="{069F7E47-7157-44E1-A974-37F9471BC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5906" y="1312861"/>
                <a:ext cx="185738" cy="103188"/>
              </a:xfrm>
              <a:custGeom>
                <a:avLst/>
                <a:gdLst>
                  <a:gd name="T0" fmla="*/ 112 w 117"/>
                  <a:gd name="T1" fmla="*/ 65 h 65"/>
                  <a:gd name="T2" fmla="*/ 0 w 117"/>
                  <a:gd name="T3" fmla="*/ 9 h 65"/>
                  <a:gd name="T4" fmla="*/ 4 w 117"/>
                  <a:gd name="T5" fmla="*/ 0 h 65"/>
                  <a:gd name="T6" fmla="*/ 117 w 117"/>
                  <a:gd name="T7" fmla="*/ 56 h 65"/>
                  <a:gd name="T8" fmla="*/ 112 w 117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65">
                    <a:moveTo>
                      <a:pt x="112" y="65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17" y="56"/>
                    </a:lnTo>
                    <a:lnTo>
                      <a:pt x="112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3" name="Freeform 39">
                <a:extLst>
                  <a:ext uri="{FF2B5EF4-FFF2-40B4-BE49-F238E27FC236}">
                    <a16:creationId xmlns:a16="http://schemas.microsoft.com/office/drawing/2014/main" id="{5D9439EA-E1EC-4EA3-AFF5-3D22615E2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5906" y="1223961"/>
                <a:ext cx="171450" cy="103188"/>
              </a:xfrm>
              <a:custGeom>
                <a:avLst/>
                <a:gdLst>
                  <a:gd name="T0" fmla="*/ 4 w 108"/>
                  <a:gd name="T1" fmla="*/ 65 h 65"/>
                  <a:gd name="T2" fmla="*/ 0 w 108"/>
                  <a:gd name="T3" fmla="*/ 56 h 65"/>
                  <a:gd name="T4" fmla="*/ 104 w 108"/>
                  <a:gd name="T5" fmla="*/ 0 h 65"/>
                  <a:gd name="T6" fmla="*/ 108 w 108"/>
                  <a:gd name="T7" fmla="*/ 8 h 65"/>
                  <a:gd name="T8" fmla="*/ 4 w 108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65">
                    <a:moveTo>
                      <a:pt x="4" y="65"/>
                    </a:moveTo>
                    <a:lnTo>
                      <a:pt x="0" y="56"/>
                    </a:lnTo>
                    <a:lnTo>
                      <a:pt x="104" y="0"/>
                    </a:lnTo>
                    <a:lnTo>
                      <a:pt x="108" y="8"/>
                    </a:lnTo>
                    <a:lnTo>
                      <a:pt x="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4" name="Freeform 40">
                <a:extLst>
                  <a:ext uri="{FF2B5EF4-FFF2-40B4-BE49-F238E27FC236}">
                    <a16:creationId xmlns:a16="http://schemas.microsoft.com/office/drawing/2014/main" id="{7CFDE843-19D3-4300-87C2-DB9ADBE97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194" y="1223961"/>
                <a:ext cx="163513" cy="103188"/>
              </a:xfrm>
              <a:custGeom>
                <a:avLst/>
                <a:gdLst>
                  <a:gd name="T0" fmla="*/ 99 w 103"/>
                  <a:gd name="T1" fmla="*/ 65 h 65"/>
                  <a:gd name="T2" fmla="*/ 0 w 103"/>
                  <a:gd name="T3" fmla="*/ 8 h 65"/>
                  <a:gd name="T4" fmla="*/ 4 w 103"/>
                  <a:gd name="T5" fmla="*/ 0 h 65"/>
                  <a:gd name="T6" fmla="*/ 103 w 103"/>
                  <a:gd name="T7" fmla="*/ 56 h 65"/>
                  <a:gd name="T8" fmla="*/ 99 w 103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65">
                    <a:moveTo>
                      <a:pt x="99" y="65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103" y="56"/>
                    </a:lnTo>
                    <a:lnTo>
                      <a:pt x="99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5" name="Freeform 41">
                <a:extLst>
                  <a:ext uri="{FF2B5EF4-FFF2-40B4-BE49-F238E27FC236}">
                    <a16:creationId xmlns:a16="http://schemas.microsoft.com/office/drawing/2014/main" id="{3C5A4449-0FB8-4B2F-AE4B-EF1D90388E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194" y="1127124"/>
                <a:ext cx="150813" cy="103188"/>
              </a:xfrm>
              <a:custGeom>
                <a:avLst/>
                <a:gdLst>
                  <a:gd name="T0" fmla="*/ 4 w 95"/>
                  <a:gd name="T1" fmla="*/ 65 h 65"/>
                  <a:gd name="T2" fmla="*/ 0 w 95"/>
                  <a:gd name="T3" fmla="*/ 61 h 65"/>
                  <a:gd name="T4" fmla="*/ 90 w 95"/>
                  <a:gd name="T5" fmla="*/ 0 h 65"/>
                  <a:gd name="T6" fmla="*/ 95 w 95"/>
                  <a:gd name="T7" fmla="*/ 9 h 65"/>
                  <a:gd name="T8" fmla="*/ 4 w 95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65">
                    <a:moveTo>
                      <a:pt x="4" y="65"/>
                    </a:moveTo>
                    <a:lnTo>
                      <a:pt x="0" y="61"/>
                    </a:lnTo>
                    <a:lnTo>
                      <a:pt x="90" y="0"/>
                    </a:lnTo>
                    <a:lnTo>
                      <a:pt x="95" y="9"/>
                    </a:lnTo>
                    <a:lnTo>
                      <a:pt x="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6" name="Freeform 42">
                <a:extLst>
                  <a:ext uri="{FF2B5EF4-FFF2-40B4-BE49-F238E27FC236}">
                    <a16:creationId xmlns:a16="http://schemas.microsoft.com/office/drawing/2014/main" id="{0FC9C08C-C857-4D69-831D-B8E389DCA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194" y="1127124"/>
                <a:ext cx="157163" cy="103188"/>
              </a:xfrm>
              <a:custGeom>
                <a:avLst/>
                <a:gdLst>
                  <a:gd name="T0" fmla="*/ 95 w 99"/>
                  <a:gd name="T1" fmla="*/ 65 h 65"/>
                  <a:gd name="T2" fmla="*/ 0 w 99"/>
                  <a:gd name="T3" fmla="*/ 9 h 65"/>
                  <a:gd name="T4" fmla="*/ 8 w 99"/>
                  <a:gd name="T5" fmla="*/ 0 h 65"/>
                  <a:gd name="T6" fmla="*/ 99 w 99"/>
                  <a:gd name="T7" fmla="*/ 61 h 65"/>
                  <a:gd name="T8" fmla="*/ 95 w 99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65">
                    <a:moveTo>
                      <a:pt x="95" y="65"/>
                    </a:moveTo>
                    <a:lnTo>
                      <a:pt x="0" y="9"/>
                    </a:lnTo>
                    <a:lnTo>
                      <a:pt x="8" y="0"/>
                    </a:lnTo>
                    <a:lnTo>
                      <a:pt x="99" y="61"/>
                    </a:lnTo>
                    <a:lnTo>
                      <a:pt x="95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7" name="Freeform 43">
                <a:extLst>
                  <a:ext uri="{FF2B5EF4-FFF2-40B4-BE49-F238E27FC236}">
                    <a16:creationId xmlns:a16="http://schemas.microsoft.com/office/drawing/2014/main" id="{1F98FBF2-4467-4098-9BB2-8407ED549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0194" y="1044574"/>
                <a:ext cx="142875" cy="96838"/>
              </a:xfrm>
              <a:custGeom>
                <a:avLst/>
                <a:gdLst>
                  <a:gd name="T0" fmla="*/ 8 w 90"/>
                  <a:gd name="T1" fmla="*/ 61 h 61"/>
                  <a:gd name="T2" fmla="*/ 0 w 90"/>
                  <a:gd name="T3" fmla="*/ 52 h 61"/>
                  <a:gd name="T4" fmla="*/ 86 w 90"/>
                  <a:gd name="T5" fmla="*/ 0 h 61"/>
                  <a:gd name="T6" fmla="*/ 90 w 90"/>
                  <a:gd name="T7" fmla="*/ 9 h 61"/>
                  <a:gd name="T8" fmla="*/ 8 w 90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61">
                    <a:moveTo>
                      <a:pt x="8" y="61"/>
                    </a:moveTo>
                    <a:lnTo>
                      <a:pt x="0" y="52"/>
                    </a:lnTo>
                    <a:lnTo>
                      <a:pt x="86" y="0"/>
                    </a:lnTo>
                    <a:lnTo>
                      <a:pt x="90" y="9"/>
                    </a:lnTo>
                    <a:lnTo>
                      <a:pt x="8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8" name="Freeform 44">
                <a:extLst>
                  <a:ext uri="{FF2B5EF4-FFF2-40B4-BE49-F238E27FC236}">
                    <a16:creationId xmlns:a16="http://schemas.microsoft.com/office/drawing/2014/main" id="{C7404995-E5FE-4E5D-AEAF-78731E9969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544" y="1044574"/>
                <a:ext cx="144463" cy="96838"/>
              </a:xfrm>
              <a:custGeom>
                <a:avLst/>
                <a:gdLst>
                  <a:gd name="T0" fmla="*/ 86 w 91"/>
                  <a:gd name="T1" fmla="*/ 61 h 61"/>
                  <a:gd name="T2" fmla="*/ 0 w 91"/>
                  <a:gd name="T3" fmla="*/ 9 h 61"/>
                  <a:gd name="T4" fmla="*/ 4 w 91"/>
                  <a:gd name="T5" fmla="*/ 0 h 61"/>
                  <a:gd name="T6" fmla="*/ 91 w 91"/>
                  <a:gd name="T7" fmla="*/ 52 h 61"/>
                  <a:gd name="T8" fmla="*/ 86 w 9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1">
                    <a:moveTo>
                      <a:pt x="86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91" y="52"/>
                    </a:lnTo>
                    <a:lnTo>
                      <a:pt x="8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9" name="Freeform 45">
                <a:extLst>
                  <a:ext uri="{FF2B5EF4-FFF2-40B4-BE49-F238E27FC236}">
                    <a16:creationId xmlns:a16="http://schemas.microsoft.com/office/drawing/2014/main" id="{8F7C0334-6ECE-43FB-A293-9BEB481D8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544" y="962024"/>
                <a:ext cx="130175" cy="96838"/>
              </a:xfrm>
              <a:custGeom>
                <a:avLst/>
                <a:gdLst>
                  <a:gd name="T0" fmla="*/ 9 w 82"/>
                  <a:gd name="T1" fmla="*/ 61 h 61"/>
                  <a:gd name="T2" fmla="*/ 0 w 82"/>
                  <a:gd name="T3" fmla="*/ 52 h 61"/>
                  <a:gd name="T4" fmla="*/ 78 w 82"/>
                  <a:gd name="T5" fmla="*/ 0 h 61"/>
                  <a:gd name="T6" fmla="*/ 82 w 82"/>
                  <a:gd name="T7" fmla="*/ 9 h 61"/>
                  <a:gd name="T8" fmla="*/ 9 w 8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1">
                    <a:moveTo>
                      <a:pt x="9" y="61"/>
                    </a:moveTo>
                    <a:lnTo>
                      <a:pt x="0" y="52"/>
                    </a:lnTo>
                    <a:lnTo>
                      <a:pt x="78" y="0"/>
                    </a:lnTo>
                    <a:lnTo>
                      <a:pt x="82" y="9"/>
                    </a:lnTo>
                    <a:lnTo>
                      <a:pt x="9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0" name="Freeform 46">
                <a:extLst>
                  <a:ext uri="{FF2B5EF4-FFF2-40B4-BE49-F238E27FC236}">
                    <a16:creationId xmlns:a16="http://schemas.microsoft.com/office/drawing/2014/main" id="{956B6AFD-899F-4B4A-98FD-FD672B810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2894" y="962024"/>
                <a:ext cx="130175" cy="96838"/>
              </a:xfrm>
              <a:custGeom>
                <a:avLst/>
                <a:gdLst>
                  <a:gd name="T0" fmla="*/ 78 w 82"/>
                  <a:gd name="T1" fmla="*/ 61 h 61"/>
                  <a:gd name="T2" fmla="*/ 0 w 82"/>
                  <a:gd name="T3" fmla="*/ 9 h 61"/>
                  <a:gd name="T4" fmla="*/ 5 w 82"/>
                  <a:gd name="T5" fmla="*/ 0 h 61"/>
                  <a:gd name="T6" fmla="*/ 82 w 82"/>
                  <a:gd name="T7" fmla="*/ 52 h 61"/>
                  <a:gd name="T8" fmla="*/ 78 w 8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1">
                    <a:moveTo>
                      <a:pt x="78" y="61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82" y="52"/>
                    </a:lnTo>
                    <a:lnTo>
                      <a:pt x="78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1" name="Freeform 47">
                <a:extLst>
                  <a:ext uri="{FF2B5EF4-FFF2-40B4-BE49-F238E27FC236}">
                    <a16:creationId xmlns:a16="http://schemas.microsoft.com/office/drawing/2014/main" id="{BAD0445C-F352-45C2-9486-AAD224F3A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2894" y="879474"/>
                <a:ext cx="117475" cy="96838"/>
              </a:xfrm>
              <a:custGeom>
                <a:avLst/>
                <a:gdLst>
                  <a:gd name="T0" fmla="*/ 5 w 74"/>
                  <a:gd name="T1" fmla="*/ 61 h 61"/>
                  <a:gd name="T2" fmla="*/ 0 w 74"/>
                  <a:gd name="T3" fmla="*/ 52 h 61"/>
                  <a:gd name="T4" fmla="*/ 69 w 74"/>
                  <a:gd name="T5" fmla="*/ 0 h 61"/>
                  <a:gd name="T6" fmla="*/ 74 w 74"/>
                  <a:gd name="T7" fmla="*/ 9 h 61"/>
                  <a:gd name="T8" fmla="*/ 5 w 7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61">
                    <a:moveTo>
                      <a:pt x="5" y="61"/>
                    </a:moveTo>
                    <a:lnTo>
                      <a:pt x="0" y="52"/>
                    </a:lnTo>
                    <a:lnTo>
                      <a:pt x="69" y="0"/>
                    </a:lnTo>
                    <a:lnTo>
                      <a:pt x="74" y="9"/>
                    </a:lnTo>
                    <a:lnTo>
                      <a:pt x="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2" name="Freeform 48">
                <a:extLst>
                  <a:ext uri="{FF2B5EF4-FFF2-40B4-BE49-F238E27FC236}">
                    <a16:creationId xmlns:a16="http://schemas.microsoft.com/office/drawing/2014/main" id="{BBC24B34-FBBB-4ECA-B488-D0509E18C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831" y="879474"/>
                <a:ext cx="115888" cy="96838"/>
              </a:xfrm>
              <a:custGeom>
                <a:avLst/>
                <a:gdLst>
                  <a:gd name="T0" fmla="*/ 69 w 73"/>
                  <a:gd name="T1" fmla="*/ 61 h 61"/>
                  <a:gd name="T2" fmla="*/ 0 w 73"/>
                  <a:gd name="T3" fmla="*/ 9 h 61"/>
                  <a:gd name="T4" fmla="*/ 4 w 73"/>
                  <a:gd name="T5" fmla="*/ 0 h 61"/>
                  <a:gd name="T6" fmla="*/ 73 w 73"/>
                  <a:gd name="T7" fmla="*/ 52 h 61"/>
                  <a:gd name="T8" fmla="*/ 69 w 73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61">
                    <a:moveTo>
                      <a:pt x="69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73" y="52"/>
                    </a:lnTo>
                    <a:lnTo>
                      <a:pt x="69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3" name="Freeform 49">
                <a:extLst>
                  <a:ext uri="{FF2B5EF4-FFF2-40B4-BE49-F238E27FC236}">
                    <a16:creationId xmlns:a16="http://schemas.microsoft.com/office/drawing/2014/main" id="{8AEC387E-DA94-4383-97CF-F7AC24E56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831" y="796924"/>
                <a:ext cx="109538" cy="96838"/>
              </a:xfrm>
              <a:custGeom>
                <a:avLst/>
                <a:gdLst>
                  <a:gd name="T0" fmla="*/ 4 w 69"/>
                  <a:gd name="T1" fmla="*/ 61 h 61"/>
                  <a:gd name="T2" fmla="*/ 0 w 69"/>
                  <a:gd name="T3" fmla="*/ 52 h 61"/>
                  <a:gd name="T4" fmla="*/ 60 w 69"/>
                  <a:gd name="T5" fmla="*/ 0 h 61"/>
                  <a:gd name="T6" fmla="*/ 69 w 69"/>
                  <a:gd name="T7" fmla="*/ 9 h 61"/>
                  <a:gd name="T8" fmla="*/ 4 w 69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4" y="61"/>
                    </a:moveTo>
                    <a:lnTo>
                      <a:pt x="0" y="52"/>
                    </a:lnTo>
                    <a:lnTo>
                      <a:pt x="60" y="0"/>
                    </a:lnTo>
                    <a:lnTo>
                      <a:pt x="69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4" name="Freeform 50">
                <a:extLst>
                  <a:ext uri="{FF2B5EF4-FFF2-40B4-BE49-F238E27FC236}">
                    <a16:creationId xmlns:a16="http://schemas.microsoft.com/office/drawing/2014/main" id="{736FA996-AB09-423C-B9D7-F95BCAEFE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181" y="796924"/>
                <a:ext cx="103188" cy="96838"/>
              </a:xfrm>
              <a:custGeom>
                <a:avLst/>
                <a:gdLst>
                  <a:gd name="T0" fmla="*/ 60 w 65"/>
                  <a:gd name="T1" fmla="*/ 61 h 61"/>
                  <a:gd name="T2" fmla="*/ 0 w 65"/>
                  <a:gd name="T3" fmla="*/ 9 h 61"/>
                  <a:gd name="T4" fmla="*/ 4 w 65"/>
                  <a:gd name="T5" fmla="*/ 0 h 61"/>
                  <a:gd name="T6" fmla="*/ 65 w 65"/>
                  <a:gd name="T7" fmla="*/ 52 h 61"/>
                  <a:gd name="T8" fmla="*/ 60 w 6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1">
                    <a:moveTo>
                      <a:pt x="60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65" y="52"/>
                    </a:lnTo>
                    <a:lnTo>
                      <a:pt x="60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5" name="Freeform 51">
                <a:extLst>
                  <a:ext uri="{FF2B5EF4-FFF2-40B4-BE49-F238E27FC236}">
                    <a16:creationId xmlns:a16="http://schemas.microsoft.com/office/drawing/2014/main" id="{AEC8AAA9-1F53-4BAA-92DE-A5D7D75D5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181" y="714374"/>
                <a:ext cx="95250" cy="96838"/>
              </a:xfrm>
              <a:custGeom>
                <a:avLst/>
                <a:gdLst>
                  <a:gd name="T0" fmla="*/ 4 w 60"/>
                  <a:gd name="T1" fmla="*/ 61 h 61"/>
                  <a:gd name="T2" fmla="*/ 0 w 60"/>
                  <a:gd name="T3" fmla="*/ 52 h 61"/>
                  <a:gd name="T4" fmla="*/ 52 w 60"/>
                  <a:gd name="T5" fmla="*/ 0 h 61"/>
                  <a:gd name="T6" fmla="*/ 60 w 60"/>
                  <a:gd name="T7" fmla="*/ 9 h 61"/>
                  <a:gd name="T8" fmla="*/ 4 w 60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1">
                    <a:moveTo>
                      <a:pt x="4" y="61"/>
                    </a:moveTo>
                    <a:lnTo>
                      <a:pt x="0" y="52"/>
                    </a:lnTo>
                    <a:lnTo>
                      <a:pt x="52" y="0"/>
                    </a:lnTo>
                    <a:lnTo>
                      <a:pt x="60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6" name="Freeform 52">
                <a:extLst>
                  <a:ext uri="{FF2B5EF4-FFF2-40B4-BE49-F238E27FC236}">
                    <a16:creationId xmlns:a16="http://schemas.microsoft.com/office/drawing/2014/main" id="{AD626080-3B9F-4703-8A6A-5C6EF317C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531" y="714374"/>
                <a:ext cx="96838" cy="96838"/>
              </a:xfrm>
              <a:custGeom>
                <a:avLst/>
                <a:gdLst>
                  <a:gd name="T0" fmla="*/ 52 w 61"/>
                  <a:gd name="T1" fmla="*/ 61 h 61"/>
                  <a:gd name="T2" fmla="*/ 0 w 61"/>
                  <a:gd name="T3" fmla="*/ 9 h 61"/>
                  <a:gd name="T4" fmla="*/ 4 w 61"/>
                  <a:gd name="T5" fmla="*/ 0 h 61"/>
                  <a:gd name="T6" fmla="*/ 61 w 61"/>
                  <a:gd name="T7" fmla="*/ 52 h 61"/>
                  <a:gd name="T8" fmla="*/ 52 w 6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2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61" y="52"/>
                    </a:lnTo>
                    <a:lnTo>
                      <a:pt x="52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7" name="Freeform 53">
                <a:extLst>
                  <a:ext uri="{FF2B5EF4-FFF2-40B4-BE49-F238E27FC236}">
                    <a16:creationId xmlns:a16="http://schemas.microsoft.com/office/drawing/2014/main" id="{8FCD796E-F3C4-4482-AC2E-92D4D5D21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531" y="639761"/>
                <a:ext cx="82550" cy="88900"/>
              </a:xfrm>
              <a:custGeom>
                <a:avLst/>
                <a:gdLst>
                  <a:gd name="T0" fmla="*/ 4 w 52"/>
                  <a:gd name="T1" fmla="*/ 56 h 56"/>
                  <a:gd name="T2" fmla="*/ 0 w 52"/>
                  <a:gd name="T3" fmla="*/ 47 h 56"/>
                  <a:gd name="T4" fmla="*/ 48 w 52"/>
                  <a:gd name="T5" fmla="*/ 0 h 56"/>
                  <a:gd name="T6" fmla="*/ 52 w 52"/>
                  <a:gd name="T7" fmla="*/ 8 h 56"/>
                  <a:gd name="T8" fmla="*/ 4 w 5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6">
                    <a:moveTo>
                      <a:pt x="4" y="56"/>
                    </a:moveTo>
                    <a:lnTo>
                      <a:pt x="0" y="47"/>
                    </a:lnTo>
                    <a:lnTo>
                      <a:pt x="48" y="0"/>
                    </a:lnTo>
                    <a:lnTo>
                      <a:pt x="52" y="8"/>
                    </a:lnTo>
                    <a:lnTo>
                      <a:pt x="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8" name="Freeform 54">
                <a:extLst>
                  <a:ext uri="{FF2B5EF4-FFF2-40B4-BE49-F238E27FC236}">
                    <a16:creationId xmlns:a16="http://schemas.microsoft.com/office/drawing/2014/main" id="{D2B5D7B2-E5F9-45D8-B815-539F7BA24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531" y="639761"/>
                <a:ext cx="88900" cy="88900"/>
              </a:xfrm>
              <a:custGeom>
                <a:avLst/>
                <a:gdLst>
                  <a:gd name="T0" fmla="*/ 48 w 56"/>
                  <a:gd name="T1" fmla="*/ 56 h 56"/>
                  <a:gd name="T2" fmla="*/ 0 w 56"/>
                  <a:gd name="T3" fmla="*/ 8 h 56"/>
                  <a:gd name="T4" fmla="*/ 9 w 56"/>
                  <a:gd name="T5" fmla="*/ 0 h 56"/>
                  <a:gd name="T6" fmla="*/ 56 w 56"/>
                  <a:gd name="T7" fmla="*/ 47 h 56"/>
                  <a:gd name="T8" fmla="*/ 48 w 56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56">
                    <a:moveTo>
                      <a:pt x="48" y="56"/>
                    </a:moveTo>
                    <a:lnTo>
                      <a:pt x="0" y="8"/>
                    </a:lnTo>
                    <a:lnTo>
                      <a:pt x="9" y="0"/>
                    </a:lnTo>
                    <a:lnTo>
                      <a:pt x="56" y="47"/>
                    </a:lnTo>
                    <a:lnTo>
                      <a:pt x="48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9" name="Freeform 55">
                <a:extLst>
                  <a:ext uri="{FF2B5EF4-FFF2-40B4-BE49-F238E27FC236}">
                    <a16:creationId xmlns:a16="http://schemas.microsoft.com/office/drawing/2014/main" id="{EDA4E59E-707A-4712-BFDD-EDFB981D0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531" y="563561"/>
                <a:ext cx="76200" cy="82550"/>
              </a:xfrm>
              <a:custGeom>
                <a:avLst/>
                <a:gdLst>
                  <a:gd name="T0" fmla="*/ 9 w 48"/>
                  <a:gd name="T1" fmla="*/ 52 h 52"/>
                  <a:gd name="T2" fmla="*/ 0 w 48"/>
                  <a:gd name="T3" fmla="*/ 48 h 52"/>
                  <a:gd name="T4" fmla="*/ 43 w 48"/>
                  <a:gd name="T5" fmla="*/ 0 h 52"/>
                  <a:gd name="T6" fmla="*/ 48 w 48"/>
                  <a:gd name="T7" fmla="*/ 5 h 52"/>
                  <a:gd name="T8" fmla="*/ 9 w 48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52">
                    <a:moveTo>
                      <a:pt x="9" y="52"/>
                    </a:moveTo>
                    <a:lnTo>
                      <a:pt x="0" y="48"/>
                    </a:lnTo>
                    <a:lnTo>
                      <a:pt x="43" y="0"/>
                    </a:lnTo>
                    <a:lnTo>
                      <a:pt x="48" y="5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0" name="Freeform 56">
                <a:extLst>
                  <a:ext uri="{FF2B5EF4-FFF2-40B4-BE49-F238E27FC236}">
                    <a16:creationId xmlns:a16="http://schemas.microsoft.com/office/drawing/2014/main" id="{54DDACB6-4B54-49DA-ADAD-029B896C3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819" y="563561"/>
                <a:ext cx="68263" cy="82550"/>
              </a:xfrm>
              <a:custGeom>
                <a:avLst/>
                <a:gdLst>
                  <a:gd name="T0" fmla="*/ 34 w 43"/>
                  <a:gd name="T1" fmla="*/ 52 h 52"/>
                  <a:gd name="T2" fmla="*/ 0 w 43"/>
                  <a:gd name="T3" fmla="*/ 5 h 52"/>
                  <a:gd name="T4" fmla="*/ 4 w 43"/>
                  <a:gd name="T5" fmla="*/ 0 h 52"/>
                  <a:gd name="T6" fmla="*/ 43 w 43"/>
                  <a:gd name="T7" fmla="*/ 48 h 52"/>
                  <a:gd name="T8" fmla="*/ 34 w 43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2">
                    <a:moveTo>
                      <a:pt x="34" y="52"/>
                    </a:moveTo>
                    <a:lnTo>
                      <a:pt x="0" y="5"/>
                    </a:lnTo>
                    <a:lnTo>
                      <a:pt x="4" y="0"/>
                    </a:lnTo>
                    <a:lnTo>
                      <a:pt x="43" y="48"/>
                    </a:lnTo>
                    <a:lnTo>
                      <a:pt x="3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1" name="Freeform 57">
                <a:extLst>
                  <a:ext uri="{FF2B5EF4-FFF2-40B4-BE49-F238E27FC236}">
                    <a16:creationId xmlns:a16="http://schemas.microsoft.com/office/drawing/2014/main" id="{B0E37252-DC84-4873-A811-E6796349C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9881" y="495299"/>
                <a:ext cx="69850" cy="76200"/>
              </a:xfrm>
              <a:custGeom>
                <a:avLst/>
                <a:gdLst>
                  <a:gd name="T0" fmla="*/ 9 w 44"/>
                  <a:gd name="T1" fmla="*/ 48 h 48"/>
                  <a:gd name="T2" fmla="*/ 0 w 44"/>
                  <a:gd name="T3" fmla="*/ 43 h 48"/>
                  <a:gd name="T4" fmla="*/ 35 w 44"/>
                  <a:gd name="T5" fmla="*/ 0 h 48"/>
                  <a:gd name="T6" fmla="*/ 44 w 44"/>
                  <a:gd name="T7" fmla="*/ 9 h 48"/>
                  <a:gd name="T8" fmla="*/ 9 w 44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8">
                    <a:moveTo>
                      <a:pt x="9" y="48"/>
                    </a:moveTo>
                    <a:lnTo>
                      <a:pt x="0" y="43"/>
                    </a:lnTo>
                    <a:lnTo>
                      <a:pt x="35" y="0"/>
                    </a:lnTo>
                    <a:lnTo>
                      <a:pt x="44" y="9"/>
                    </a:lnTo>
                    <a:lnTo>
                      <a:pt x="9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id="{8DE30669-D0B6-4349-A426-BA604118B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819" y="495299"/>
                <a:ext cx="61913" cy="82550"/>
              </a:xfrm>
              <a:custGeom>
                <a:avLst/>
                <a:gdLst>
                  <a:gd name="T0" fmla="*/ 30 w 39"/>
                  <a:gd name="T1" fmla="*/ 52 h 52"/>
                  <a:gd name="T2" fmla="*/ 0 w 39"/>
                  <a:gd name="T3" fmla="*/ 4 h 52"/>
                  <a:gd name="T4" fmla="*/ 4 w 39"/>
                  <a:gd name="T5" fmla="*/ 0 h 52"/>
                  <a:gd name="T6" fmla="*/ 39 w 39"/>
                  <a:gd name="T7" fmla="*/ 48 h 52"/>
                  <a:gd name="T8" fmla="*/ 30 w 3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2">
                    <a:moveTo>
                      <a:pt x="30" y="52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39" y="48"/>
                    </a:lnTo>
                    <a:lnTo>
                      <a:pt x="30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id="{FB5264CF-8E0B-4250-9D50-8B68705FE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819" y="433386"/>
                <a:ext cx="53975" cy="68263"/>
              </a:xfrm>
              <a:custGeom>
                <a:avLst/>
                <a:gdLst>
                  <a:gd name="T0" fmla="*/ 4 w 34"/>
                  <a:gd name="T1" fmla="*/ 43 h 43"/>
                  <a:gd name="T2" fmla="*/ 0 w 34"/>
                  <a:gd name="T3" fmla="*/ 39 h 43"/>
                  <a:gd name="T4" fmla="*/ 26 w 34"/>
                  <a:gd name="T5" fmla="*/ 0 h 43"/>
                  <a:gd name="T6" fmla="*/ 34 w 34"/>
                  <a:gd name="T7" fmla="*/ 9 h 43"/>
                  <a:gd name="T8" fmla="*/ 4 w 34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3">
                    <a:moveTo>
                      <a:pt x="4" y="43"/>
                    </a:moveTo>
                    <a:lnTo>
                      <a:pt x="0" y="39"/>
                    </a:lnTo>
                    <a:lnTo>
                      <a:pt x="26" y="0"/>
                    </a:lnTo>
                    <a:lnTo>
                      <a:pt x="34" y="9"/>
                    </a:lnTo>
                    <a:lnTo>
                      <a:pt x="4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4" name="Freeform 60">
                <a:extLst>
                  <a:ext uri="{FF2B5EF4-FFF2-40B4-BE49-F238E27FC236}">
                    <a16:creationId xmlns:a16="http://schemas.microsoft.com/office/drawing/2014/main" id="{813AD973-71DC-4790-85C3-5C28FEF8F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819" y="433386"/>
                <a:ext cx="61913" cy="68263"/>
              </a:xfrm>
              <a:custGeom>
                <a:avLst/>
                <a:gdLst>
                  <a:gd name="T0" fmla="*/ 30 w 39"/>
                  <a:gd name="T1" fmla="*/ 43 h 43"/>
                  <a:gd name="T2" fmla="*/ 0 w 39"/>
                  <a:gd name="T3" fmla="*/ 9 h 43"/>
                  <a:gd name="T4" fmla="*/ 8 w 39"/>
                  <a:gd name="T5" fmla="*/ 0 h 43"/>
                  <a:gd name="T6" fmla="*/ 39 w 39"/>
                  <a:gd name="T7" fmla="*/ 39 h 43"/>
                  <a:gd name="T8" fmla="*/ 30 w 39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3">
                    <a:moveTo>
                      <a:pt x="30" y="43"/>
                    </a:moveTo>
                    <a:lnTo>
                      <a:pt x="0" y="9"/>
                    </a:lnTo>
                    <a:lnTo>
                      <a:pt x="8" y="0"/>
                    </a:lnTo>
                    <a:lnTo>
                      <a:pt x="39" y="39"/>
                    </a:lnTo>
                    <a:lnTo>
                      <a:pt x="3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5" name="Freeform 61">
                <a:extLst>
                  <a:ext uri="{FF2B5EF4-FFF2-40B4-BE49-F238E27FC236}">
                    <a16:creationId xmlns:a16="http://schemas.microsoft.com/office/drawing/2014/main" id="{78B13284-B3C0-459C-86EE-154A36CA9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819" y="377824"/>
                <a:ext cx="53975" cy="61913"/>
              </a:xfrm>
              <a:custGeom>
                <a:avLst/>
                <a:gdLst>
                  <a:gd name="T0" fmla="*/ 8 w 34"/>
                  <a:gd name="T1" fmla="*/ 39 h 39"/>
                  <a:gd name="T2" fmla="*/ 0 w 34"/>
                  <a:gd name="T3" fmla="*/ 35 h 39"/>
                  <a:gd name="T4" fmla="*/ 26 w 34"/>
                  <a:gd name="T5" fmla="*/ 0 h 39"/>
                  <a:gd name="T6" fmla="*/ 34 w 34"/>
                  <a:gd name="T7" fmla="*/ 5 h 39"/>
                  <a:gd name="T8" fmla="*/ 8 w 34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9">
                    <a:moveTo>
                      <a:pt x="8" y="39"/>
                    </a:moveTo>
                    <a:lnTo>
                      <a:pt x="0" y="35"/>
                    </a:lnTo>
                    <a:lnTo>
                      <a:pt x="26" y="0"/>
                    </a:lnTo>
                    <a:lnTo>
                      <a:pt x="34" y="5"/>
                    </a:lnTo>
                    <a:lnTo>
                      <a:pt x="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6" name="Freeform 62">
                <a:extLst>
                  <a:ext uri="{FF2B5EF4-FFF2-40B4-BE49-F238E27FC236}">
                    <a16:creationId xmlns:a16="http://schemas.microsoft.com/office/drawing/2014/main" id="{00F1176A-22F7-4D56-B1C7-4012259DC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169" y="377824"/>
                <a:ext cx="47625" cy="61913"/>
              </a:xfrm>
              <a:custGeom>
                <a:avLst/>
                <a:gdLst>
                  <a:gd name="T0" fmla="*/ 22 w 30"/>
                  <a:gd name="T1" fmla="*/ 39 h 39"/>
                  <a:gd name="T2" fmla="*/ 0 w 30"/>
                  <a:gd name="T3" fmla="*/ 5 h 39"/>
                  <a:gd name="T4" fmla="*/ 9 w 30"/>
                  <a:gd name="T5" fmla="*/ 0 h 39"/>
                  <a:gd name="T6" fmla="*/ 30 w 30"/>
                  <a:gd name="T7" fmla="*/ 35 h 39"/>
                  <a:gd name="T8" fmla="*/ 22 w 30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9">
                    <a:moveTo>
                      <a:pt x="22" y="39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30" y="35"/>
                    </a:lnTo>
                    <a:lnTo>
                      <a:pt x="22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7" name="Freeform 63">
                <a:extLst>
                  <a:ext uri="{FF2B5EF4-FFF2-40B4-BE49-F238E27FC236}">
                    <a16:creationId xmlns:a16="http://schemas.microsoft.com/office/drawing/2014/main" id="{1446C32C-544B-4B5A-920A-43DDB7C57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169" y="309561"/>
                <a:ext cx="41275" cy="76200"/>
              </a:xfrm>
              <a:custGeom>
                <a:avLst/>
                <a:gdLst>
                  <a:gd name="T0" fmla="*/ 9 w 26"/>
                  <a:gd name="T1" fmla="*/ 48 h 48"/>
                  <a:gd name="T2" fmla="*/ 0 w 26"/>
                  <a:gd name="T3" fmla="*/ 43 h 48"/>
                  <a:gd name="T4" fmla="*/ 17 w 26"/>
                  <a:gd name="T5" fmla="*/ 0 h 48"/>
                  <a:gd name="T6" fmla="*/ 26 w 26"/>
                  <a:gd name="T7" fmla="*/ 4 h 48"/>
                  <a:gd name="T8" fmla="*/ 9 w 26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48">
                    <a:moveTo>
                      <a:pt x="9" y="48"/>
                    </a:moveTo>
                    <a:lnTo>
                      <a:pt x="0" y="43"/>
                    </a:lnTo>
                    <a:lnTo>
                      <a:pt x="17" y="0"/>
                    </a:lnTo>
                    <a:lnTo>
                      <a:pt x="26" y="4"/>
                    </a:lnTo>
                    <a:lnTo>
                      <a:pt x="9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8" name="Freeform 64">
                <a:extLst>
                  <a:ext uri="{FF2B5EF4-FFF2-40B4-BE49-F238E27FC236}">
                    <a16:creationId xmlns:a16="http://schemas.microsoft.com/office/drawing/2014/main" id="{D99942D3-1906-4F43-AEAE-BE9B0EB6F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169" y="309561"/>
                <a:ext cx="47625" cy="76200"/>
              </a:xfrm>
              <a:custGeom>
                <a:avLst/>
                <a:gdLst>
                  <a:gd name="T0" fmla="*/ 22 w 30"/>
                  <a:gd name="T1" fmla="*/ 48 h 48"/>
                  <a:gd name="T2" fmla="*/ 0 w 30"/>
                  <a:gd name="T3" fmla="*/ 4 h 48"/>
                  <a:gd name="T4" fmla="*/ 9 w 30"/>
                  <a:gd name="T5" fmla="*/ 0 h 48"/>
                  <a:gd name="T6" fmla="*/ 30 w 30"/>
                  <a:gd name="T7" fmla="*/ 43 h 48"/>
                  <a:gd name="T8" fmla="*/ 22 w 30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48">
                    <a:moveTo>
                      <a:pt x="22" y="48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30" y="43"/>
                    </a:lnTo>
                    <a:lnTo>
                      <a:pt x="22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9" name="Freeform 65">
                <a:extLst>
                  <a:ext uri="{FF2B5EF4-FFF2-40B4-BE49-F238E27FC236}">
                    <a16:creationId xmlns:a16="http://schemas.microsoft.com/office/drawing/2014/main" id="{D90BD88F-D2BB-48D9-9EA4-10E53A5DF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644" y="831849"/>
                <a:ext cx="103188" cy="96838"/>
              </a:xfrm>
              <a:custGeom>
                <a:avLst/>
                <a:gdLst>
                  <a:gd name="T0" fmla="*/ 56 w 65"/>
                  <a:gd name="T1" fmla="*/ 61 h 61"/>
                  <a:gd name="T2" fmla="*/ 0 w 65"/>
                  <a:gd name="T3" fmla="*/ 4 h 61"/>
                  <a:gd name="T4" fmla="*/ 8 w 65"/>
                  <a:gd name="T5" fmla="*/ 0 h 61"/>
                  <a:gd name="T6" fmla="*/ 65 w 65"/>
                  <a:gd name="T7" fmla="*/ 52 h 61"/>
                  <a:gd name="T8" fmla="*/ 56 w 6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1">
                    <a:moveTo>
                      <a:pt x="56" y="61"/>
                    </a:moveTo>
                    <a:lnTo>
                      <a:pt x="0" y="4"/>
                    </a:lnTo>
                    <a:lnTo>
                      <a:pt x="8" y="0"/>
                    </a:lnTo>
                    <a:lnTo>
                      <a:pt x="65" y="52"/>
                    </a:lnTo>
                    <a:lnTo>
                      <a:pt x="5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0" name="Freeform 66">
                <a:extLst>
                  <a:ext uri="{FF2B5EF4-FFF2-40B4-BE49-F238E27FC236}">
                    <a16:creationId xmlns:a16="http://schemas.microsoft.com/office/drawing/2014/main" id="{C6E3DC2E-75CE-4984-B49C-BDE8CBC72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644" y="811211"/>
                <a:ext cx="103188" cy="109538"/>
              </a:xfrm>
              <a:custGeom>
                <a:avLst/>
                <a:gdLst>
                  <a:gd name="T0" fmla="*/ 8 w 65"/>
                  <a:gd name="T1" fmla="*/ 69 h 69"/>
                  <a:gd name="T2" fmla="*/ 0 w 65"/>
                  <a:gd name="T3" fmla="*/ 65 h 69"/>
                  <a:gd name="T4" fmla="*/ 56 w 65"/>
                  <a:gd name="T5" fmla="*/ 0 h 69"/>
                  <a:gd name="T6" fmla="*/ 65 w 65"/>
                  <a:gd name="T7" fmla="*/ 9 h 69"/>
                  <a:gd name="T8" fmla="*/ 8 w 65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9">
                    <a:moveTo>
                      <a:pt x="8" y="69"/>
                    </a:moveTo>
                    <a:lnTo>
                      <a:pt x="0" y="65"/>
                    </a:lnTo>
                    <a:lnTo>
                      <a:pt x="56" y="0"/>
                    </a:lnTo>
                    <a:lnTo>
                      <a:pt x="65" y="9"/>
                    </a:lnTo>
                    <a:lnTo>
                      <a:pt x="8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1" name="Freeform 67">
                <a:extLst>
                  <a:ext uri="{FF2B5EF4-FFF2-40B4-BE49-F238E27FC236}">
                    <a16:creationId xmlns:a16="http://schemas.microsoft.com/office/drawing/2014/main" id="{60D84FD9-8C9C-49C3-9550-7F07E2CAC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794" y="846136"/>
                <a:ext cx="82550" cy="82550"/>
              </a:xfrm>
              <a:custGeom>
                <a:avLst/>
                <a:gdLst>
                  <a:gd name="T0" fmla="*/ 44 w 52"/>
                  <a:gd name="T1" fmla="*/ 52 h 52"/>
                  <a:gd name="T2" fmla="*/ 0 w 52"/>
                  <a:gd name="T3" fmla="*/ 4 h 52"/>
                  <a:gd name="T4" fmla="*/ 9 w 52"/>
                  <a:gd name="T5" fmla="*/ 0 h 52"/>
                  <a:gd name="T6" fmla="*/ 52 w 52"/>
                  <a:gd name="T7" fmla="*/ 43 h 52"/>
                  <a:gd name="T8" fmla="*/ 44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44" y="52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52" y="43"/>
                    </a:lnTo>
                    <a:lnTo>
                      <a:pt x="4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2" name="Freeform 68">
                <a:extLst>
                  <a:ext uri="{FF2B5EF4-FFF2-40B4-BE49-F238E27FC236}">
                    <a16:creationId xmlns:a16="http://schemas.microsoft.com/office/drawing/2014/main" id="{EDA1F576-A8A0-4533-9BF9-AC5DC77B3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794" y="831849"/>
                <a:ext cx="82550" cy="88900"/>
              </a:xfrm>
              <a:custGeom>
                <a:avLst/>
                <a:gdLst>
                  <a:gd name="T0" fmla="*/ 9 w 52"/>
                  <a:gd name="T1" fmla="*/ 56 h 56"/>
                  <a:gd name="T2" fmla="*/ 0 w 52"/>
                  <a:gd name="T3" fmla="*/ 52 h 56"/>
                  <a:gd name="T4" fmla="*/ 44 w 52"/>
                  <a:gd name="T5" fmla="*/ 0 h 56"/>
                  <a:gd name="T6" fmla="*/ 52 w 52"/>
                  <a:gd name="T7" fmla="*/ 4 h 56"/>
                  <a:gd name="T8" fmla="*/ 9 w 5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6">
                    <a:moveTo>
                      <a:pt x="9" y="56"/>
                    </a:moveTo>
                    <a:lnTo>
                      <a:pt x="0" y="52"/>
                    </a:lnTo>
                    <a:lnTo>
                      <a:pt x="44" y="0"/>
                    </a:lnTo>
                    <a:lnTo>
                      <a:pt x="52" y="4"/>
                    </a:lnTo>
                    <a:lnTo>
                      <a:pt x="9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3" name="Freeform 69">
                <a:extLst>
                  <a:ext uri="{FF2B5EF4-FFF2-40B4-BE49-F238E27FC236}">
                    <a16:creationId xmlns:a16="http://schemas.microsoft.com/office/drawing/2014/main" id="{DF53ACEE-A6B9-46D9-BFAB-4E41B5E2A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181" y="858836"/>
                <a:ext cx="82550" cy="69850"/>
              </a:xfrm>
              <a:custGeom>
                <a:avLst/>
                <a:gdLst>
                  <a:gd name="T0" fmla="*/ 47 w 52"/>
                  <a:gd name="T1" fmla="*/ 44 h 44"/>
                  <a:gd name="T2" fmla="*/ 0 w 52"/>
                  <a:gd name="T3" fmla="*/ 9 h 44"/>
                  <a:gd name="T4" fmla="*/ 9 w 52"/>
                  <a:gd name="T5" fmla="*/ 0 h 44"/>
                  <a:gd name="T6" fmla="*/ 52 w 52"/>
                  <a:gd name="T7" fmla="*/ 35 h 44"/>
                  <a:gd name="T8" fmla="*/ 47 w 5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4">
                    <a:moveTo>
                      <a:pt x="47" y="44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52" y="35"/>
                    </a:lnTo>
                    <a:lnTo>
                      <a:pt x="47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4" name="Freeform 70">
                <a:extLst>
                  <a:ext uri="{FF2B5EF4-FFF2-40B4-BE49-F238E27FC236}">
                    <a16:creationId xmlns:a16="http://schemas.microsoft.com/office/drawing/2014/main" id="{BE83BFE7-5BAC-439A-9DDF-0267E3616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3181" y="846136"/>
                <a:ext cx="82550" cy="82550"/>
              </a:xfrm>
              <a:custGeom>
                <a:avLst/>
                <a:gdLst>
                  <a:gd name="T0" fmla="*/ 9 w 52"/>
                  <a:gd name="T1" fmla="*/ 52 h 52"/>
                  <a:gd name="T2" fmla="*/ 0 w 52"/>
                  <a:gd name="T3" fmla="*/ 43 h 52"/>
                  <a:gd name="T4" fmla="*/ 47 w 52"/>
                  <a:gd name="T5" fmla="*/ 0 h 52"/>
                  <a:gd name="T6" fmla="*/ 52 w 52"/>
                  <a:gd name="T7" fmla="*/ 4 h 52"/>
                  <a:gd name="T8" fmla="*/ 9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9" y="52"/>
                    </a:moveTo>
                    <a:lnTo>
                      <a:pt x="0" y="43"/>
                    </a:lnTo>
                    <a:lnTo>
                      <a:pt x="47" y="0"/>
                    </a:lnTo>
                    <a:lnTo>
                      <a:pt x="52" y="4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5" name="Freeform 71">
                <a:extLst>
                  <a:ext uri="{FF2B5EF4-FFF2-40B4-BE49-F238E27FC236}">
                    <a16:creationId xmlns:a16="http://schemas.microsoft.com/office/drawing/2014/main" id="{E51DEA6D-3EE6-42C8-90A6-E5CCF6AF60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919" y="873124"/>
                <a:ext cx="82550" cy="47625"/>
              </a:xfrm>
              <a:custGeom>
                <a:avLst/>
                <a:gdLst>
                  <a:gd name="T0" fmla="*/ 47 w 52"/>
                  <a:gd name="T1" fmla="*/ 30 h 30"/>
                  <a:gd name="T2" fmla="*/ 0 w 52"/>
                  <a:gd name="T3" fmla="*/ 9 h 30"/>
                  <a:gd name="T4" fmla="*/ 4 w 52"/>
                  <a:gd name="T5" fmla="*/ 0 h 30"/>
                  <a:gd name="T6" fmla="*/ 52 w 52"/>
                  <a:gd name="T7" fmla="*/ 22 h 30"/>
                  <a:gd name="T8" fmla="*/ 47 w 52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0">
                    <a:moveTo>
                      <a:pt x="47" y="30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52" y="22"/>
                    </a:lnTo>
                    <a:lnTo>
                      <a:pt x="4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6" name="Freeform 72">
                <a:extLst>
                  <a:ext uri="{FF2B5EF4-FFF2-40B4-BE49-F238E27FC236}">
                    <a16:creationId xmlns:a16="http://schemas.microsoft.com/office/drawing/2014/main" id="{9E30306A-9A8A-473B-94FD-9942104B4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919" y="858836"/>
                <a:ext cx="82550" cy="69850"/>
              </a:xfrm>
              <a:custGeom>
                <a:avLst/>
                <a:gdLst>
                  <a:gd name="T0" fmla="*/ 4 w 52"/>
                  <a:gd name="T1" fmla="*/ 44 h 44"/>
                  <a:gd name="T2" fmla="*/ 0 w 52"/>
                  <a:gd name="T3" fmla="*/ 35 h 44"/>
                  <a:gd name="T4" fmla="*/ 43 w 52"/>
                  <a:gd name="T5" fmla="*/ 0 h 44"/>
                  <a:gd name="T6" fmla="*/ 52 w 52"/>
                  <a:gd name="T7" fmla="*/ 9 h 44"/>
                  <a:gd name="T8" fmla="*/ 4 w 5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4">
                    <a:moveTo>
                      <a:pt x="4" y="44"/>
                    </a:moveTo>
                    <a:lnTo>
                      <a:pt x="0" y="35"/>
                    </a:lnTo>
                    <a:lnTo>
                      <a:pt x="43" y="0"/>
                    </a:lnTo>
                    <a:lnTo>
                      <a:pt x="52" y="9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7" name="Freeform 73">
                <a:extLst>
                  <a:ext uri="{FF2B5EF4-FFF2-40B4-BE49-F238E27FC236}">
                    <a16:creationId xmlns:a16="http://schemas.microsoft.com/office/drawing/2014/main" id="{7266CE2E-980A-4978-B43B-42256E31D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3006" y="887411"/>
                <a:ext cx="68263" cy="41275"/>
              </a:xfrm>
              <a:custGeom>
                <a:avLst/>
                <a:gdLst>
                  <a:gd name="T0" fmla="*/ 39 w 43"/>
                  <a:gd name="T1" fmla="*/ 26 h 26"/>
                  <a:gd name="T2" fmla="*/ 0 w 43"/>
                  <a:gd name="T3" fmla="*/ 8 h 26"/>
                  <a:gd name="T4" fmla="*/ 4 w 43"/>
                  <a:gd name="T5" fmla="*/ 0 h 26"/>
                  <a:gd name="T6" fmla="*/ 43 w 43"/>
                  <a:gd name="T7" fmla="*/ 17 h 26"/>
                  <a:gd name="T8" fmla="*/ 39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39" y="26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43" y="17"/>
                    </a:lnTo>
                    <a:lnTo>
                      <a:pt x="39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8" name="Freeform 74">
                <a:extLst>
                  <a:ext uri="{FF2B5EF4-FFF2-40B4-BE49-F238E27FC236}">
                    <a16:creationId xmlns:a16="http://schemas.microsoft.com/office/drawing/2014/main" id="{F2DB80A1-B009-479C-BEB7-711DF411F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6719" y="831849"/>
                <a:ext cx="95250" cy="96838"/>
              </a:xfrm>
              <a:custGeom>
                <a:avLst/>
                <a:gdLst>
                  <a:gd name="T0" fmla="*/ 4 w 60"/>
                  <a:gd name="T1" fmla="*/ 61 h 61"/>
                  <a:gd name="T2" fmla="*/ 0 w 60"/>
                  <a:gd name="T3" fmla="*/ 52 h 61"/>
                  <a:gd name="T4" fmla="*/ 52 w 60"/>
                  <a:gd name="T5" fmla="*/ 0 h 61"/>
                  <a:gd name="T6" fmla="*/ 60 w 60"/>
                  <a:gd name="T7" fmla="*/ 9 h 61"/>
                  <a:gd name="T8" fmla="*/ 4 w 60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1">
                    <a:moveTo>
                      <a:pt x="4" y="61"/>
                    </a:moveTo>
                    <a:lnTo>
                      <a:pt x="0" y="52"/>
                    </a:lnTo>
                    <a:lnTo>
                      <a:pt x="52" y="0"/>
                    </a:lnTo>
                    <a:lnTo>
                      <a:pt x="60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9" name="Freeform 75">
                <a:extLst>
                  <a:ext uri="{FF2B5EF4-FFF2-40B4-BE49-F238E27FC236}">
                    <a16:creationId xmlns:a16="http://schemas.microsoft.com/office/drawing/2014/main" id="{61F70CA7-303D-4715-97CB-C62F6B755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6719" y="817561"/>
                <a:ext cx="95250" cy="111125"/>
              </a:xfrm>
              <a:custGeom>
                <a:avLst/>
                <a:gdLst>
                  <a:gd name="T0" fmla="*/ 52 w 60"/>
                  <a:gd name="T1" fmla="*/ 70 h 70"/>
                  <a:gd name="T2" fmla="*/ 0 w 60"/>
                  <a:gd name="T3" fmla="*/ 5 h 70"/>
                  <a:gd name="T4" fmla="*/ 4 w 60"/>
                  <a:gd name="T5" fmla="*/ 0 h 70"/>
                  <a:gd name="T6" fmla="*/ 60 w 60"/>
                  <a:gd name="T7" fmla="*/ 61 h 70"/>
                  <a:gd name="T8" fmla="*/ 52 w 60"/>
                  <a:gd name="T9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70">
                    <a:moveTo>
                      <a:pt x="52" y="70"/>
                    </a:moveTo>
                    <a:lnTo>
                      <a:pt x="0" y="5"/>
                    </a:lnTo>
                    <a:lnTo>
                      <a:pt x="4" y="0"/>
                    </a:lnTo>
                    <a:lnTo>
                      <a:pt x="60" y="61"/>
                    </a:lnTo>
                    <a:lnTo>
                      <a:pt x="5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0" name="Freeform 76">
                <a:extLst>
                  <a:ext uri="{FF2B5EF4-FFF2-40B4-BE49-F238E27FC236}">
                    <a16:creationId xmlns:a16="http://schemas.microsoft.com/office/drawing/2014/main" id="{65CBBCFD-40A2-4C84-AB48-E9367C458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9269" y="846136"/>
                <a:ext cx="82550" cy="82550"/>
              </a:xfrm>
              <a:custGeom>
                <a:avLst/>
                <a:gdLst>
                  <a:gd name="T0" fmla="*/ 8 w 52"/>
                  <a:gd name="T1" fmla="*/ 52 h 52"/>
                  <a:gd name="T2" fmla="*/ 0 w 52"/>
                  <a:gd name="T3" fmla="*/ 43 h 52"/>
                  <a:gd name="T4" fmla="*/ 47 w 52"/>
                  <a:gd name="T5" fmla="*/ 0 h 52"/>
                  <a:gd name="T6" fmla="*/ 52 w 52"/>
                  <a:gd name="T7" fmla="*/ 8 h 52"/>
                  <a:gd name="T8" fmla="*/ 8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8" y="52"/>
                    </a:moveTo>
                    <a:lnTo>
                      <a:pt x="0" y="43"/>
                    </a:lnTo>
                    <a:lnTo>
                      <a:pt x="47" y="0"/>
                    </a:lnTo>
                    <a:lnTo>
                      <a:pt x="52" y="8"/>
                    </a:lnTo>
                    <a:lnTo>
                      <a:pt x="8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1" name="Freeform 77">
                <a:extLst>
                  <a:ext uri="{FF2B5EF4-FFF2-40B4-BE49-F238E27FC236}">
                    <a16:creationId xmlns:a16="http://schemas.microsoft.com/office/drawing/2014/main" id="{05C70A77-D6B5-4296-91DF-753619196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9269" y="831849"/>
                <a:ext cx="82550" cy="96838"/>
              </a:xfrm>
              <a:custGeom>
                <a:avLst/>
                <a:gdLst>
                  <a:gd name="T0" fmla="*/ 47 w 52"/>
                  <a:gd name="T1" fmla="*/ 61 h 61"/>
                  <a:gd name="T2" fmla="*/ 0 w 52"/>
                  <a:gd name="T3" fmla="*/ 9 h 61"/>
                  <a:gd name="T4" fmla="*/ 8 w 52"/>
                  <a:gd name="T5" fmla="*/ 0 h 61"/>
                  <a:gd name="T6" fmla="*/ 52 w 52"/>
                  <a:gd name="T7" fmla="*/ 52 h 61"/>
                  <a:gd name="T8" fmla="*/ 47 w 5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61">
                    <a:moveTo>
                      <a:pt x="47" y="61"/>
                    </a:moveTo>
                    <a:lnTo>
                      <a:pt x="0" y="9"/>
                    </a:lnTo>
                    <a:lnTo>
                      <a:pt x="8" y="0"/>
                    </a:lnTo>
                    <a:lnTo>
                      <a:pt x="52" y="52"/>
                    </a:lnTo>
                    <a:lnTo>
                      <a:pt x="4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2" name="Freeform 78">
                <a:extLst>
                  <a:ext uri="{FF2B5EF4-FFF2-40B4-BE49-F238E27FC236}">
                    <a16:creationId xmlns:a16="http://schemas.microsoft.com/office/drawing/2014/main" id="{14431DE4-00DF-466A-ABFE-B31B778F9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3881" y="858836"/>
                <a:ext cx="82550" cy="69850"/>
              </a:xfrm>
              <a:custGeom>
                <a:avLst/>
                <a:gdLst>
                  <a:gd name="T0" fmla="*/ 5 w 52"/>
                  <a:gd name="T1" fmla="*/ 44 h 44"/>
                  <a:gd name="T2" fmla="*/ 0 w 52"/>
                  <a:gd name="T3" fmla="*/ 35 h 44"/>
                  <a:gd name="T4" fmla="*/ 48 w 52"/>
                  <a:gd name="T5" fmla="*/ 0 h 44"/>
                  <a:gd name="T6" fmla="*/ 52 w 52"/>
                  <a:gd name="T7" fmla="*/ 9 h 44"/>
                  <a:gd name="T8" fmla="*/ 5 w 5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4">
                    <a:moveTo>
                      <a:pt x="5" y="44"/>
                    </a:moveTo>
                    <a:lnTo>
                      <a:pt x="0" y="35"/>
                    </a:lnTo>
                    <a:lnTo>
                      <a:pt x="48" y="0"/>
                    </a:lnTo>
                    <a:lnTo>
                      <a:pt x="52" y="9"/>
                    </a:lnTo>
                    <a:lnTo>
                      <a:pt x="5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3" name="Freeform 79">
                <a:extLst>
                  <a:ext uri="{FF2B5EF4-FFF2-40B4-BE49-F238E27FC236}">
                    <a16:creationId xmlns:a16="http://schemas.microsoft.com/office/drawing/2014/main" id="{F202F58F-2F63-4884-9FA8-C10EBA4EF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3881" y="846136"/>
                <a:ext cx="82550" cy="82550"/>
              </a:xfrm>
              <a:custGeom>
                <a:avLst/>
                <a:gdLst>
                  <a:gd name="T0" fmla="*/ 44 w 52"/>
                  <a:gd name="T1" fmla="*/ 52 h 52"/>
                  <a:gd name="T2" fmla="*/ 0 w 52"/>
                  <a:gd name="T3" fmla="*/ 8 h 52"/>
                  <a:gd name="T4" fmla="*/ 5 w 52"/>
                  <a:gd name="T5" fmla="*/ 0 h 52"/>
                  <a:gd name="T6" fmla="*/ 52 w 52"/>
                  <a:gd name="T7" fmla="*/ 43 h 52"/>
                  <a:gd name="T8" fmla="*/ 44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44" y="52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52" y="43"/>
                    </a:lnTo>
                    <a:lnTo>
                      <a:pt x="4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4" name="Freeform 80">
                <a:extLst>
                  <a:ext uri="{FF2B5EF4-FFF2-40B4-BE49-F238E27FC236}">
                    <a16:creationId xmlns:a16="http://schemas.microsoft.com/office/drawing/2014/main" id="{DA1A6E88-DF53-4222-8AE1-C2D33AEDF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081" y="873124"/>
                <a:ext cx="74613" cy="47625"/>
              </a:xfrm>
              <a:custGeom>
                <a:avLst/>
                <a:gdLst>
                  <a:gd name="T0" fmla="*/ 4 w 47"/>
                  <a:gd name="T1" fmla="*/ 30 h 30"/>
                  <a:gd name="T2" fmla="*/ 0 w 47"/>
                  <a:gd name="T3" fmla="*/ 26 h 30"/>
                  <a:gd name="T4" fmla="*/ 43 w 47"/>
                  <a:gd name="T5" fmla="*/ 0 h 30"/>
                  <a:gd name="T6" fmla="*/ 47 w 47"/>
                  <a:gd name="T7" fmla="*/ 9 h 30"/>
                  <a:gd name="T8" fmla="*/ 4 w 47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0">
                    <a:moveTo>
                      <a:pt x="4" y="30"/>
                    </a:moveTo>
                    <a:lnTo>
                      <a:pt x="0" y="26"/>
                    </a:lnTo>
                    <a:lnTo>
                      <a:pt x="43" y="0"/>
                    </a:lnTo>
                    <a:lnTo>
                      <a:pt x="47" y="9"/>
                    </a:lnTo>
                    <a:lnTo>
                      <a:pt x="4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5" name="Freeform 81">
                <a:extLst>
                  <a:ext uri="{FF2B5EF4-FFF2-40B4-BE49-F238E27FC236}">
                    <a16:creationId xmlns:a16="http://schemas.microsoft.com/office/drawing/2014/main" id="{DA07CF47-C17E-49B2-8730-2AEC6DBA9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081" y="858836"/>
                <a:ext cx="74613" cy="69850"/>
              </a:xfrm>
              <a:custGeom>
                <a:avLst/>
                <a:gdLst>
                  <a:gd name="T0" fmla="*/ 43 w 47"/>
                  <a:gd name="T1" fmla="*/ 44 h 44"/>
                  <a:gd name="T2" fmla="*/ 0 w 47"/>
                  <a:gd name="T3" fmla="*/ 9 h 44"/>
                  <a:gd name="T4" fmla="*/ 4 w 47"/>
                  <a:gd name="T5" fmla="*/ 0 h 44"/>
                  <a:gd name="T6" fmla="*/ 47 w 47"/>
                  <a:gd name="T7" fmla="*/ 35 h 44"/>
                  <a:gd name="T8" fmla="*/ 43 w 47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4">
                    <a:moveTo>
                      <a:pt x="43" y="44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47" y="35"/>
                    </a:lnTo>
                    <a:lnTo>
                      <a:pt x="43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6" name="Freeform 82">
                <a:extLst>
                  <a:ext uri="{FF2B5EF4-FFF2-40B4-BE49-F238E27FC236}">
                    <a16:creationId xmlns:a16="http://schemas.microsoft.com/office/drawing/2014/main" id="{883E3EED-A82C-4900-88DB-5135C31CA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694" y="887411"/>
                <a:ext cx="69850" cy="41275"/>
              </a:xfrm>
              <a:custGeom>
                <a:avLst/>
                <a:gdLst>
                  <a:gd name="T0" fmla="*/ 5 w 44"/>
                  <a:gd name="T1" fmla="*/ 26 h 26"/>
                  <a:gd name="T2" fmla="*/ 0 w 44"/>
                  <a:gd name="T3" fmla="*/ 17 h 26"/>
                  <a:gd name="T4" fmla="*/ 39 w 44"/>
                  <a:gd name="T5" fmla="*/ 0 h 26"/>
                  <a:gd name="T6" fmla="*/ 44 w 44"/>
                  <a:gd name="T7" fmla="*/ 8 h 26"/>
                  <a:gd name="T8" fmla="*/ 5 w 44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6">
                    <a:moveTo>
                      <a:pt x="5" y="26"/>
                    </a:moveTo>
                    <a:lnTo>
                      <a:pt x="0" y="17"/>
                    </a:lnTo>
                    <a:lnTo>
                      <a:pt x="39" y="0"/>
                    </a:lnTo>
                    <a:lnTo>
                      <a:pt x="44" y="8"/>
                    </a:lnTo>
                    <a:lnTo>
                      <a:pt x="5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7" name="Freeform 83">
                <a:extLst>
                  <a:ext uri="{FF2B5EF4-FFF2-40B4-BE49-F238E27FC236}">
                    <a16:creationId xmlns:a16="http://schemas.microsoft.com/office/drawing/2014/main" id="{88E5FDEA-70B3-4DBA-AD8F-0B1428377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644" y="1141411"/>
                <a:ext cx="82550" cy="68263"/>
              </a:xfrm>
              <a:custGeom>
                <a:avLst/>
                <a:gdLst>
                  <a:gd name="T0" fmla="*/ 43 w 52"/>
                  <a:gd name="T1" fmla="*/ 43 h 43"/>
                  <a:gd name="T2" fmla="*/ 0 w 52"/>
                  <a:gd name="T3" fmla="*/ 8 h 43"/>
                  <a:gd name="T4" fmla="*/ 4 w 52"/>
                  <a:gd name="T5" fmla="*/ 0 h 43"/>
                  <a:gd name="T6" fmla="*/ 52 w 52"/>
                  <a:gd name="T7" fmla="*/ 39 h 43"/>
                  <a:gd name="T8" fmla="*/ 43 w 5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3">
                    <a:moveTo>
                      <a:pt x="43" y="43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52" y="39"/>
                    </a:lnTo>
                    <a:lnTo>
                      <a:pt x="4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8" name="Freeform 84">
                <a:extLst>
                  <a:ext uri="{FF2B5EF4-FFF2-40B4-BE49-F238E27FC236}">
                    <a16:creationId xmlns:a16="http://schemas.microsoft.com/office/drawing/2014/main" id="{7FFCF13F-55E2-4158-B845-371BD027E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644" y="1120774"/>
                <a:ext cx="88900" cy="95250"/>
              </a:xfrm>
              <a:custGeom>
                <a:avLst/>
                <a:gdLst>
                  <a:gd name="T0" fmla="*/ 4 w 56"/>
                  <a:gd name="T1" fmla="*/ 60 h 60"/>
                  <a:gd name="T2" fmla="*/ 0 w 56"/>
                  <a:gd name="T3" fmla="*/ 52 h 60"/>
                  <a:gd name="T4" fmla="*/ 47 w 56"/>
                  <a:gd name="T5" fmla="*/ 0 h 60"/>
                  <a:gd name="T6" fmla="*/ 56 w 56"/>
                  <a:gd name="T7" fmla="*/ 4 h 60"/>
                  <a:gd name="T8" fmla="*/ 4 w 56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0">
                    <a:moveTo>
                      <a:pt x="4" y="60"/>
                    </a:moveTo>
                    <a:lnTo>
                      <a:pt x="0" y="52"/>
                    </a:lnTo>
                    <a:lnTo>
                      <a:pt x="47" y="0"/>
                    </a:lnTo>
                    <a:lnTo>
                      <a:pt x="56" y="4"/>
                    </a:ln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9" name="Freeform 85">
                <a:extLst>
                  <a:ext uri="{FF2B5EF4-FFF2-40B4-BE49-F238E27FC236}">
                    <a16:creationId xmlns:a16="http://schemas.microsoft.com/office/drawing/2014/main" id="{92ED60FA-3715-438D-85DC-BE08A67A9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794" y="1162049"/>
                <a:ext cx="76200" cy="53975"/>
              </a:xfrm>
              <a:custGeom>
                <a:avLst/>
                <a:gdLst>
                  <a:gd name="T0" fmla="*/ 44 w 48"/>
                  <a:gd name="T1" fmla="*/ 34 h 34"/>
                  <a:gd name="T2" fmla="*/ 0 w 48"/>
                  <a:gd name="T3" fmla="*/ 8 h 34"/>
                  <a:gd name="T4" fmla="*/ 5 w 48"/>
                  <a:gd name="T5" fmla="*/ 0 h 34"/>
                  <a:gd name="T6" fmla="*/ 48 w 48"/>
                  <a:gd name="T7" fmla="*/ 26 h 34"/>
                  <a:gd name="T8" fmla="*/ 44 w 48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4" y="34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48" y="26"/>
                    </a:lnTo>
                    <a:lnTo>
                      <a:pt x="4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0" name="Freeform 86">
                <a:extLst>
                  <a:ext uri="{FF2B5EF4-FFF2-40B4-BE49-F238E27FC236}">
                    <a16:creationId xmlns:a16="http://schemas.microsoft.com/office/drawing/2014/main" id="{DAE143E0-D9EF-4987-BAF1-3E33F5A55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794" y="1141411"/>
                <a:ext cx="76200" cy="74613"/>
              </a:xfrm>
              <a:custGeom>
                <a:avLst/>
                <a:gdLst>
                  <a:gd name="T0" fmla="*/ 5 w 48"/>
                  <a:gd name="T1" fmla="*/ 47 h 47"/>
                  <a:gd name="T2" fmla="*/ 0 w 48"/>
                  <a:gd name="T3" fmla="*/ 39 h 47"/>
                  <a:gd name="T4" fmla="*/ 44 w 48"/>
                  <a:gd name="T5" fmla="*/ 0 h 47"/>
                  <a:gd name="T6" fmla="*/ 48 w 48"/>
                  <a:gd name="T7" fmla="*/ 8 h 47"/>
                  <a:gd name="T8" fmla="*/ 5 w 48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7">
                    <a:moveTo>
                      <a:pt x="5" y="47"/>
                    </a:moveTo>
                    <a:lnTo>
                      <a:pt x="0" y="39"/>
                    </a:lnTo>
                    <a:lnTo>
                      <a:pt x="44" y="0"/>
                    </a:lnTo>
                    <a:lnTo>
                      <a:pt x="48" y="8"/>
                    </a:lnTo>
                    <a:lnTo>
                      <a:pt x="5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1" name="Freeform 87">
                <a:extLst>
                  <a:ext uri="{FF2B5EF4-FFF2-40B4-BE49-F238E27FC236}">
                    <a16:creationId xmlns:a16="http://schemas.microsoft.com/office/drawing/2014/main" id="{508C7609-57A0-471A-8B69-53E24E584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169" y="1174749"/>
                <a:ext cx="55563" cy="41275"/>
              </a:xfrm>
              <a:custGeom>
                <a:avLst/>
                <a:gdLst>
                  <a:gd name="T0" fmla="*/ 30 w 35"/>
                  <a:gd name="T1" fmla="*/ 26 h 26"/>
                  <a:gd name="T2" fmla="*/ 0 w 35"/>
                  <a:gd name="T3" fmla="*/ 9 h 26"/>
                  <a:gd name="T4" fmla="*/ 5 w 35"/>
                  <a:gd name="T5" fmla="*/ 0 h 26"/>
                  <a:gd name="T6" fmla="*/ 35 w 35"/>
                  <a:gd name="T7" fmla="*/ 18 h 26"/>
                  <a:gd name="T8" fmla="*/ 30 w 35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0" y="26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35" y="18"/>
                    </a:lnTo>
                    <a:lnTo>
                      <a:pt x="3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2" name="Freeform 88">
                <a:extLst>
                  <a:ext uri="{FF2B5EF4-FFF2-40B4-BE49-F238E27FC236}">
                    <a16:creationId xmlns:a16="http://schemas.microsoft.com/office/drawing/2014/main" id="{D282E30C-5720-4FCE-AC9E-9789EC0D0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7356" y="1141411"/>
                <a:ext cx="74613" cy="68263"/>
              </a:xfrm>
              <a:custGeom>
                <a:avLst/>
                <a:gdLst>
                  <a:gd name="T0" fmla="*/ 4 w 47"/>
                  <a:gd name="T1" fmla="*/ 43 h 43"/>
                  <a:gd name="T2" fmla="*/ 0 w 47"/>
                  <a:gd name="T3" fmla="*/ 34 h 43"/>
                  <a:gd name="T4" fmla="*/ 43 w 47"/>
                  <a:gd name="T5" fmla="*/ 0 h 43"/>
                  <a:gd name="T6" fmla="*/ 47 w 47"/>
                  <a:gd name="T7" fmla="*/ 4 h 43"/>
                  <a:gd name="T8" fmla="*/ 4 w 47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3">
                    <a:moveTo>
                      <a:pt x="4" y="43"/>
                    </a:moveTo>
                    <a:lnTo>
                      <a:pt x="0" y="34"/>
                    </a:lnTo>
                    <a:lnTo>
                      <a:pt x="43" y="0"/>
                    </a:lnTo>
                    <a:lnTo>
                      <a:pt x="47" y="4"/>
                    </a:lnTo>
                    <a:lnTo>
                      <a:pt x="4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3" name="Freeform 89">
                <a:extLst>
                  <a:ext uri="{FF2B5EF4-FFF2-40B4-BE49-F238E27FC236}">
                    <a16:creationId xmlns:a16="http://schemas.microsoft.com/office/drawing/2014/main" id="{E05E0EA8-E1ED-46CA-93EF-F8DA73D31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3069" y="1112836"/>
                <a:ext cx="96838" cy="96838"/>
              </a:xfrm>
              <a:custGeom>
                <a:avLst/>
                <a:gdLst>
                  <a:gd name="T0" fmla="*/ 52 w 61"/>
                  <a:gd name="T1" fmla="*/ 61 h 61"/>
                  <a:gd name="T2" fmla="*/ 0 w 61"/>
                  <a:gd name="T3" fmla="*/ 9 h 61"/>
                  <a:gd name="T4" fmla="*/ 9 w 61"/>
                  <a:gd name="T5" fmla="*/ 0 h 61"/>
                  <a:gd name="T6" fmla="*/ 61 w 61"/>
                  <a:gd name="T7" fmla="*/ 57 h 61"/>
                  <a:gd name="T8" fmla="*/ 52 w 6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2" y="61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61" y="57"/>
                    </a:lnTo>
                    <a:lnTo>
                      <a:pt x="52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4" name="Freeform 90">
                <a:extLst>
                  <a:ext uri="{FF2B5EF4-FFF2-40B4-BE49-F238E27FC236}">
                    <a16:creationId xmlns:a16="http://schemas.microsoft.com/office/drawing/2014/main" id="{D1B74611-BD7D-4BE2-9192-626BB89E5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619" y="1162049"/>
                <a:ext cx="76200" cy="53975"/>
              </a:xfrm>
              <a:custGeom>
                <a:avLst/>
                <a:gdLst>
                  <a:gd name="T0" fmla="*/ 4 w 48"/>
                  <a:gd name="T1" fmla="*/ 34 h 34"/>
                  <a:gd name="T2" fmla="*/ 0 w 48"/>
                  <a:gd name="T3" fmla="*/ 26 h 34"/>
                  <a:gd name="T4" fmla="*/ 43 w 48"/>
                  <a:gd name="T5" fmla="*/ 0 h 34"/>
                  <a:gd name="T6" fmla="*/ 48 w 48"/>
                  <a:gd name="T7" fmla="*/ 8 h 34"/>
                  <a:gd name="T8" fmla="*/ 4 w 48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" y="34"/>
                    </a:moveTo>
                    <a:lnTo>
                      <a:pt x="0" y="26"/>
                    </a:lnTo>
                    <a:lnTo>
                      <a:pt x="43" y="0"/>
                    </a:lnTo>
                    <a:lnTo>
                      <a:pt x="48" y="8"/>
                    </a:lnTo>
                    <a:lnTo>
                      <a:pt x="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5" name="Freeform 91">
                <a:extLst>
                  <a:ext uri="{FF2B5EF4-FFF2-40B4-BE49-F238E27FC236}">
                    <a16:creationId xmlns:a16="http://schemas.microsoft.com/office/drawing/2014/main" id="{5CB34F43-A11C-4E19-8CE3-6205A0B99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619" y="1141411"/>
                <a:ext cx="76200" cy="68263"/>
              </a:xfrm>
              <a:custGeom>
                <a:avLst/>
                <a:gdLst>
                  <a:gd name="T0" fmla="*/ 43 w 48"/>
                  <a:gd name="T1" fmla="*/ 43 h 43"/>
                  <a:gd name="T2" fmla="*/ 0 w 48"/>
                  <a:gd name="T3" fmla="*/ 4 h 43"/>
                  <a:gd name="T4" fmla="*/ 4 w 48"/>
                  <a:gd name="T5" fmla="*/ 0 h 43"/>
                  <a:gd name="T6" fmla="*/ 48 w 48"/>
                  <a:gd name="T7" fmla="*/ 39 h 43"/>
                  <a:gd name="T8" fmla="*/ 43 w 48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43" y="43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48" y="39"/>
                    </a:lnTo>
                    <a:lnTo>
                      <a:pt x="4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6" name="Freeform 92">
                <a:extLst>
                  <a:ext uri="{FF2B5EF4-FFF2-40B4-BE49-F238E27FC236}">
                    <a16:creationId xmlns:a16="http://schemas.microsoft.com/office/drawing/2014/main" id="{6C43CC18-512F-4BE9-9B65-1918B58CE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3881" y="1174749"/>
                <a:ext cx="55563" cy="41275"/>
              </a:xfrm>
              <a:custGeom>
                <a:avLst/>
                <a:gdLst>
                  <a:gd name="T0" fmla="*/ 5 w 35"/>
                  <a:gd name="T1" fmla="*/ 26 h 26"/>
                  <a:gd name="T2" fmla="*/ 0 w 35"/>
                  <a:gd name="T3" fmla="*/ 18 h 26"/>
                  <a:gd name="T4" fmla="*/ 31 w 35"/>
                  <a:gd name="T5" fmla="*/ 0 h 26"/>
                  <a:gd name="T6" fmla="*/ 35 w 35"/>
                  <a:gd name="T7" fmla="*/ 9 h 26"/>
                  <a:gd name="T8" fmla="*/ 5 w 35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5" y="26"/>
                    </a:moveTo>
                    <a:lnTo>
                      <a:pt x="0" y="18"/>
                    </a:lnTo>
                    <a:lnTo>
                      <a:pt x="31" y="0"/>
                    </a:lnTo>
                    <a:lnTo>
                      <a:pt x="35" y="9"/>
                    </a:lnTo>
                    <a:lnTo>
                      <a:pt x="5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7" name="Freeform 93">
                <a:extLst>
                  <a:ext uri="{FF2B5EF4-FFF2-40B4-BE49-F238E27FC236}">
                    <a16:creationId xmlns:a16="http://schemas.microsoft.com/office/drawing/2014/main" id="{A9720AB8-6606-4158-B2DA-836BAE789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9731" y="481011"/>
                <a:ext cx="61913" cy="69850"/>
              </a:xfrm>
              <a:custGeom>
                <a:avLst/>
                <a:gdLst>
                  <a:gd name="T0" fmla="*/ 34 w 39"/>
                  <a:gd name="T1" fmla="*/ 44 h 44"/>
                  <a:gd name="T2" fmla="*/ 0 w 39"/>
                  <a:gd name="T3" fmla="*/ 5 h 44"/>
                  <a:gd name="T4" fmla="*/ 4 w 39"/>
                  <a:gd name="T5" fmla="*/ 0 h 44"/>
                  <a:gd name="T6" fmla="*/ 39 w 39"/>
                  <a:gd name="T7" fmla="*/ 35 h 44"/>
                  <a:gd name="T8" fmla="*/ 34 w 39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4">
                    <a:moveTo>
                      <a:pt x="34" y="44"/>
                    </a:moveTo>
                    <a:lnTo>
                      <a:pt x="0" y="5"/>
                    </a:lnTo>
                    <a:lnTo>
                      <a:pt x="4" y="0"/>
                    </a:lnTo>
                    <a:lnTo>
                      <a:pt x="39" y="35"/>
                    </a:lnTo>
                    <a:lnTo>
                      <a:pt x="34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8" name="Freeform 94">
                <a:extLst>
                  <a:ext uri="{FF2B5EF4-FFF2-40B4-BE49-F238E27FC236}">
                    <a16:creationId xmlns:a16="http://schemas.microsoft.com/office/drawing/2014/main" id="{59C91B19-3AC0-4F16-B396-E0D01AA40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794" y="481011"/>
                <a:ext cx="69850" cy="82550"/>
              </a:xfrm>
              <a:custGeom>
                <a:avLst/>
                <a:gdLst>
                  <a:gd name="T0" fmla="*/ 9 w 44"/>
                  <a:gd name="T1" fmla="*/ 52 h 52"/>
                  <a:gd name="T2" fmla="*/ 0 w 44"/>
                  <a:gd name="T3" fmla="*/ 48 h 52"/>
                  <a:gd name="T4" fmla="*/ 35 w 44"/>
                  <a:gd name="T5" fmla="*/ 0 h 52"/>
                  <a:gd name="T6" fmla="*/ 44 w 44"/>
                  <a:gd name="T7" fmla="*/ 5 h 52"/>
                  <a:gd name="T8" fmla="*/ 9 w 44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52">
                    <a:moveTo>
                      <a:pt x="9" y="52"/>
                    </a:moveTo>
                    <a:lnTo>
                      <a:pt x="0" y="48"/>
                    </a:lnTo>
                    <a:lnTo>
                      <a:pt x="35" y="0"/>
                    </a:lnTo>
                    <a:lnTo>
                      <a:pt x="44" y="5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9" name="Freeform 95">
                <a:extLst>
                  <a:ext uri="{FF2B5EF4-FFF2-40B4-BE49-F238E27FC236}">
                    <a16:creationId xmlns:a16="http://schemas.microsoft.com/office/drawing/2014/main" id="{86C41BD8-869C-4F1B-863C-8C3BF07B8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706" y="481011"/>
                <a:ext cx="61913" cy="49213"/>
              </a:xfrm>
              <a:custGeom>
                <a:avLst/>
                <a:gdLst>
                  <a:gd name="T0" fmla="*/ 35 w 39"/>
                  <a:gd name="T1" fmla="*/ 31 h 31"/>
                  <a:gd name="T2" fmla="*/ 0 w 39"/>
                  <a:gd name="T3" fmla="*/ 9 h 31"/>
                  <a:gd name="T4" fmla="*/ 5 w 39"/>
                  <a:gd name="T5" fmla="*/ 0 h 31"/>
                  <a:gd name="T6" fmla="*/ 39 w 39"/>
                  <a:gd name="T7" fmla="*/ 22 h 31"/>
                  <a:gd name="T8" fmla="*/ 35 w 39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35" y="31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39" y="22"/>
                    </a:lnTo>
                    <a:lnTo>
                      <a:pt x="35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0" name="Freeform 96">
                <a:extLst>
                  <a:ext uri="{FF2B5EF4-FFF2-40B4-BE49-F238E27FC236}">
                    <a16:creationId xmlns:a16="http://schemas.microsoft.com/office/drawing/2014/main" id="{7149B18F-8511-461C-B796-3743BEF12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706" y="481011"/>
                <a:ext cx="61913" cy="69850"/>
              </a:xfrm>
              <a:custGeom>
                <a:avLst/>
                <a:gdLst>
                  <a:gd name="T0" fmla="*/ 5 w 39"/>
                  <a:gd name="T1" fmla="*/ 44 h 44"/>
                  <a:gd name="T2" fmla="*/ 0 w 39"/>
                  <a:gd name="T3" fmla="*/ 35 h 44"/>
                  <a:gd name="T4" fmla="*/ 30 w 39"/>
                  <a:gd name="T5" fmla="*/ 0 h 44"/>
                  <a:gd name="T6" fmla="*/ 39 w 39"/>
                  <a:gd name="T7" fmla="*/ 5 h 44"/>
                  <a:gd name="T8" fmla="*/ 5 w 39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4">
                    <a:moveTo>
                      <a:pt x="5" y="44"/>
                    </a:moveTo>
                    <a:lnTo>
                      <a:pt x="0" y="35"/>
                    </a:lnTo>
                    <a:lnTo>
                      <a:pt x="30" y="0"/>
                    </a:lnTo>
                    <a:lnTo>
                      <a:pt x="39" y="5"/>
                    </a:lnTo>
                    <a:lnTo>
                      <a:pt x="5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1" name="Freeform 97">
                <a:extLst>
                  <a:ext uri="{FF2B5EF4-FFF2-40B4-BE49-F238E27FC236}">
                    <a16:creationId xmlns:a16="http://schemas.microsoft.com/office/drawing/2014/main" id="{03D7444F-FC7D-4861-A58E-12ABBCEF4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556" y="481011"/>
                <a:ext cx="68263" cy="69850"/>
              </a:xfrm>
              <a:custGeom>
                <a:avLst/>
                <a:gdLst>
                  <a:gd name="T0" fmla="*/ 8 w 43"/>
                  <a:gd name="T1" fmla="*/ 44 h 44"/>
                  <a:gd name="T2" fmla="*/ 0 w 43"/>
                  <a:gd name="T3" fmla="*/ 35 h 44"/>
                  <a:gd name="T4" fmla="*/ 34 w 43"/>
                  <a:gd name="T5" fmla="*/ 0 h 44"/>
                  <a:gd name="T6" fmla="*/ 43 w 43"/>
                  <a:gd name="T7" fmla="*/ 5 h 44"/>
                  <a:gd name="T8" fmla="*/ 8 w 43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8" y="44"/>
                    </a:moveTo>
                    <a:lnTo>
                      <a:pt x="0" y="35"/>
                    </a:lnTo>
                    <a:lnTo>
                      <a:pt x="34" y="0"/>
                    </a:lnTo>
                    <a:lnTo>
                      <a:pt x="43" y="5"/>
                    </a:lnTo>
                    <a:lnTo>
                      <a:pt x="8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2" name="Freeform 98">
                <a:extLst>
                  <a:ext uri="{FF2B5EF4-FFF2-40B4-BE49-F238E27FC236}">
                    <a16:creationId xmlns:a16="http://schemas.microsoft.com/office/drawing/2014/main" id="{7F606631-CEA7-4C20-99F5-B856E0207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9556" y="481011"/>
                <a:ext cx="68263" cy="82550"/>
              </a:xfrm>
              <a:custGeom>
                <a:avLst/>
                <a:gdLst>
                  <a:gd name="T0" fmla="*/ 34 w 43"/>
                  <a:gd name="T1" fmla="*/ 52 h 52"/>
                  <a:gd name="T2" fmla="*/ 0 w 43"/>
                  <a:gd name="T3" fmla="*/ 5 h 52"/>
                  <a:gd name="T4" fmla="*/ 8 w 43"/>
                  <a:gd name="T5" fmla="*/ 0 h 52"/>
                  <a:gd name="T6" fmla="*/ 43 w 43"/>
                  <a:gd name="T7" fmla="*/ 48 h 52"/>
                  <a:gd name="T8" fmla="*/ 34 w 43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2">
                    <a:moveTo>
                      <a:pt x="34" y="52"/>
                    </a:moveTo>
                    <a:lnTo>
                      <a:pt x="0" y="5"/>
                    </a:lnTo>
                    <a:lnTo>
                      <a:pt x="8" y="0"/>
                    </a:lnTo>
                    <a:lnTo>
                      <a:pt x="43" y="48"/>
                    </a:lnTo>
                    <a:lnTo>
                      <a:pt x="3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3" name="Freeform 99">
                <a:extLst>
                  <a:ext uri="{FF2B5EF4-FFF2-40B4-BE49-F238E27FC236}">
                    <a16:creationId xmlns:a16="http://schemas.microsoft.com/office/drawing/2014/main" id="{CCA121EC-B42C-491F-9008-4EC8AED65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0344" y="481011"/>
                <a:ext cx="61913" cy="49213"/>
              </a:xfrm>
              <a:custGeom>
                <a:avLst/>
                <a:gdLst>
                  <a:gd name="T0" fmla="*/ 5 w 39"/>
                  <a:gd name="T1" fmla="*/ 31 h 31"/>
                  <a:gd name="T2" fmla="*/ 0 w 39"/>
                  <a:gd name="T3" fmla="*/ 22 h 31"/>
                  <a:gd name="T4" fmla="*/ 31 w 39"/>
                  <a:gd name="T5" fmla="*/ 0 h 31"/>
                  <a:gd name="T6" fmla="*/ 39 w 39"/>
                  <a:gd name="T7" fmla="*/ 9 h 31"/>
                  <a:gd name="T8" fmla="*/ 5 w 39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5" y="31"/>
                    </a:moveTo>
                    <a:lnTo>
                      <a:pt x="0" y="22"/>
                    </a:lnTo>
                    <a:lnTo>
                      <a:pt x="31" y="0"/>
                    </a:lnTo>
                    <a:lnTo>
                      <a:pt x="39" y="9"/>
                    </a:lnTo>
                    <a:lnTo>
                      <a:pt x="5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4" name="Freeform 100">
                <a:extLst>
                  <a:ext uri="{FF2B5EF4-FFF2-40B4-BE49-F238E27FC236}">
                    <a16:creationId xmlns:a16="http://schemas.microsoft.com/office/drawing/2014/main" id="{227EB07D-0BCF-4964-B171-B118054BE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994" y="481011"/>
                <a:ext cx="68263" cy="69850"/>
              </a:xfrm>
              <a:custGeom>
                <a:avLst/>
                <a:gdLst>
                  <a:gd name="T0" fmla="*/ 35 w 43"/>
                  <a:gd name="T1" fmla="*/ 44 h 44"/>
                  <a:gd name="T2" fmla="*/ 0 w 43"/>
                  <a:gd name="T3" fmla="*/ 5 h 44"/>
                  <a:gd name="T4" fmla="*/ 9 w 43"/>
                  <a:gd name="T5" fmla="*/ 0 h 44"/>
                  <a:gd name="T6" fmla="*/ 43 w 43"/>
                  <a:gd name="T7" fmla="*/ 35 h 44"/>
                  <a:gd name="T8" fmla="*/ 35 w 43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35" y="44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43" y="35"/>
                    </a:lnTo>
                    <a:lnTo>
                      <a:pt x="35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5" name="Freeform 101">
                <a:extLst>
                  <a:ext uri="{FF2B5EF4-FFF2-40B4-BE49-F238E27FC236}">
                    <a16:creationId xmlns:a16="http://schemas.microsoft.com/office/drawing/2014/main" id="{AA34E7A2-C1B1-45E5-8647-F9966C328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006" y="481011"/>
                <a:ext cx="41275" cy="34925"/>
              </a:xfrm>
              <a:custGeom>
                <a:avLst/>
                <a:gdLst>
                  <a:gd name="T0" fmla="*/ 4 w 26"/>
                  <a:gd name="T1" fmla="*/ 22 h 22"/>
                  <a:gd name="T2" fmla="*/ 0 w 26"/>
                  <a:gd name="T3" fmla="*/ 18 h 22"/>
                  <a:gd name="T4" fmla="*/ 17 w 26"/>
                  <a:gd name="T5" fmla="*/ 0 h 22"/>
                  <a:gd name="T6" fmla="*/ 26 w 26"/>
                  <a:gd name="T7" fmla="*/ 9 h 22"/>
                  <a:gd name="T8" fmla="*/ 4 w 26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2">
                    <a:moveTo>
                      <a:pt x="4" y="22"/>
                    </a:moveTo>
                    <a:lnTo>
                      <a:pt x="0" y="18"/>
                    </a:lnTo>
                    <a:lnTo>
                      <a:pt x="17" y="0"/>
                    </a:lnTo>
                    <a:lnTo>
                      <a:pt x="26" y="9"/>
                    </a:lnTo>
                    <a:lnTo>
                      <a:pt x="4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6" name="Freeform 102">
                <a:extLst>
                  <a:ext uri="{FF2B5EF4-FFF2-40B4-BE49-F238E27FC236}">
                    <a16:creationId xmlns:a16="http://schemas.microsoft.com/office/drawing/2014/main" id="{3404E26B-D224-4C71-BE96-079695E2B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9269" y="481011"/>
                <a:ext cx="41275" cy="34925"/>
              </a:xfrm>
              <a:custGeom>
                <a:avLst/>
                <a:gdLst>
                  <a:gd name="T0" fmla="*/ 21 w 26"/>
                  <a:gd name="T1" fmla="*/ 22 h 22"/>
                  <a:gd name="T2" fmla="*/ 0 w 26"/>
                  <a:gd name="T3" fmla="*/ 9 h 22"/>
                  <a:gd name="T4" fmla="*/ 4 w 26"/>
                  <a:gd name="T5" fmla="*/ 0 h 22"/>
                  <a:gd name="T6" fmla="*/ 26 w 26"/>
                  <a:gd name="T7" fmla="*/ 13 h 22"/>
                  <a:gd name="T8" fmla="*/ 21 w 26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2">
                    <a:moveTo>
                      <a:pt x="21" y="22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6" y="13"/>
                    </a:lnTo>
                    <a:lnTo>
                      <a:pt x="21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7" name="Freeform 103">
                <a:extLst>
                  <a:ext uri="{FF2B5EF4-FFF2-40B4-BE49-F238E27FC236}">
                    <a16:creationId xmlns:a16="http://schemas.microsoft.com/office/drawing/2014/main" id="{E3C5ED33-A4AD-4441-8ABE-93B247C35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8344" y="1216024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8" name="Freeform 104">
                <a:extLst>
                  <a:ext uri="{FF2B5EF4-FFF2-40B4-BE49-F238E27FC236}">
                    <a16:creationId xmlns:a16="http://schemas.microsoft.com/office/drawing/2014/main" id="{4BF452C9-A732-4D9B-9D93-0CDDBCADE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8344" y="1236661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9" name="Freeform 105">
                <a:extLst>
                  <a:ext uri="{FF2B5EF4-FFF2-40B4-BE49-F238E27FC236}">
                    <a16:creationId xmlns:a16="http://schemas.microsoft.com/office/drawing/2014/main" id="{9E4FD8B1-C66F-4D81-B53B-D24EFB2CB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8344" y="1257299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0" name="Freeform 106">
                <a:extLst>
                  <a:ext uri="{FF2B5EF4-FFF2-40B4-BE49-F238E27FC236}">
                    <a16:creationId xmlns:a16="http://schemas.microsoft.com/office/drawing/2014/main" id="{1473400F-C387-4A6E-918B-4E86AB51B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8344" y="1277936"/>
                <a:ext cx="41275" cy="28575"/>
              </a:xfrm>
              <a:custGeom>
                <a:avLst/>
                <a:gdLst>
                  <a:gd name="T0" fmla="*/ 6 w 6"/>
                  <a:gd name="T1" fmla="*/ 2 h 4"/>
                  <a:gd name="T2" fmla="*/ 5 w 6"/>
                  <a:gd name="T3" fmla="*/ 4 h 4"/>
                  <a:gd name="T4" fmla="*/ 1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1 w 6"/>
                  <a:gd name="T11" fmla="*/ 0 h 4"/>
                  <a:gd name="T12" fmla="*/ 5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6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1" name="Freeform 107">
                <a:extLst>
                  <a:ext uri="{FF2B5EF4-FFF2-40B4-BE49-F238E27FC236}">
                    <a16:creationId xmlns:a16="http://schemas.microsoft.com/office/drawing/2014/main" id="{28632783-1746-498E-ADD0-DC4836D035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644" y="1216024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2" name="Freeform 108">
                <a:extLst>
                  <a:ext uri="{FF2B5EF4-FFF2-40B4-BE49-F238E27FC236}">
                    <a16:creationId xmlns:a16="http://schemas.microsoft.com/office/drawing/2014/main" id="{FB9ED4BA-DBC3-4A75-B593-ADA7D4BE8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644" y="1236661"/>
                <a:ext cx="47625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3" name="Freeform 109">
                <a:extLst>
                  <a:ext uri="{FF2B5EF4-FFF2-40B4-BE49-F238E27FC236}">
                    <a16:creationId xmlns:a16="http://schemas.microsoft.com/office/drawing/2014/main" id="{1B744245-03F2-470A-BDF9-74ECAC34F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644" y="1257299"/>
                <a:ext cx="47625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4" name="Freeform 110">
                <a:extLst>
                  <a:ext uri="{FF2B5EF4-FFF2-40B4-BE49-F238E27FC236}">
                    <a16:creationId xmlns:a16="http://schemas.microsoft.com/office/drawing/2014/main" id="{D7C2B282-BCB6-41FF-81DB-0B2B2E457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644" y="1285874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5" name="Freeform 111">
                <a:extLst>
                  <a:ext uri="{FF2B5EF4-FFF2-40B4-BE49-F238E27FC236}">
                    <a16:creationId xmlns:a16="http://schemas.microsoft.com/office/drawing/2014/main" id="{F875195D-3885-41A4-9C42-A1D499112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456" y="481011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6" name="Freeform 112">
                <a:extLst>
                  <a:ext uri="{FF2B5EF4-FFF2-40B4-BE49-F238E27FC236}">
                    <a16:creationId xmlns:a16="http://schemas.microsoft.com/office/drawing/2014/main" id="{2482B02E-ADEE-4993-9D18-23669EB6A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456" y="501649"/>
                <a:ext cx="41275" cy="28575"/>
              </a:xfrm>
              <a:custGeom>
                <a:avLst/>
                <a:gdLst>
                  <a:gd name="T0" fmla="*/ 6 w 6"/>
                  <a:gd name="T1" fmla="*/ 2 h 4"/>
                  <a:gd name="T2" fmla="*/ 5 w 6"/>
                  <a:gd name="T3" fmla="*/ 4 h 4"/>
                  <a:gd name="T4" fmla="*/ 1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1 w 6"/>
                  <a:gd name="T11" fmla="*/ 0 h 4"/>
                  <a:gd name="T12" fmla="*/ 5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6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7" name="Freeform 113">
                <a:extLst>
                  <a:ext uri="{FF2B5EF4-FFF2-40B4-BE49-F238E27FC236}">
                    <a16:creationId xmlns:a16="http://schemas.microsoft.com/office/drawing/2014/main" id="{A5A84824-98E5-4DC3-AB43-2445DF1D3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456" y="530224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8" name="Freeform 114">
                <a:extLst>
                  <a:ext uri="{FF2B5EF4-FFF2-40B4-BE49-F238E27FC236}">
                    <a16:creationId xmlns:a16="http://schemas.microsoft.com/office/drawing/2014/main" id="{3AF4ECA9-F23C-4E74-B141-7EE2980F1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2456" y="550861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9" name="Freeform 115">
                <a:extLst>
                  <a:ext uri="{FF2B5EF4-FFF2-40B4-BE49-F238E27FC236}">
                    <a16:creationId xmlns:a16="http://schemas.microsoft.com/office/drawing/2014/main" id="{F47F5D2B-0600-42D1-805F-05169CD6F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469" y="481011"/>
                <a:ext cx="47625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0" name="Freeform 116">
                <a:extLst>
                  <a:ext uri="{FF2B5EF4-FFF2-40B4-BE49-F238E27FC236}">
                    <a16:creationId xmlns:a16="http://schemas.microsoft.com/office/drawing/2014/main" id="{4AFCCA10-5343-4E5B-A348-A766A5C5C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469" y="501649"/>
                <a:ext cx="47625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1" name="Freeform 117">
                <a:extLst>
                  <a:ext uri="{FF2B5EF4-FFF2-40B4-BE49-F238E27FC236}">
                    <a16:creationId xmlns:a16="http://schemas.microsoft.com/office/drawing/2014/main" id="{CA36971E-217E-4C0F-8F89-DE976B8FF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469" y="530224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2" name="Freeform 118">
                <a:extLst>
                  <a:ext uri="{FF2B5EF4-FFF2-40B4-BE49-F238E27FC236}">
                    <a16:creationId xmlns:a16="http://schemas.microsoft.com/office/drawing/2014/main" id="{5D55A26F-AB78-4535-B503-0BC7EB3E1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469" y="550861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3" name="Freeform 119">
                <a:extLst>
                  <a:ext uri="{FF2B5EF4-FFF2-40B4-BE49-F238E27FC236}">
                    <a16:creationId xmlns:a16="http://schemas.microsoft.com/office/drawing/2014/main" id="{3FCD8B4B-67E7-4A9E-A9C1-49B7032FB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928686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4" name="Freeform 120">
                <a:extLst>
                  <a:ext uri="{FF2B5EF4-FFF2-40B4-BE49-F238E27FC236}">
                    <a16:creationId xmlns:a16="http://schemas.microsoft.com/office/drawing/2014/main" id="{71371F9B-7265-4006-9EE1-71D93FE85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949324"/>
                <a:ext cx="49213" cy="19050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5" name="Freeform 121">
                <a:extLst>
                  <a:ext uri="{FF2B5EF4-FFF2-40B4-BE49-F238E27FC236}">
                    <a16:creationId xmlns:a16="http://schemas.microsoft.com/office/drawing/2014/main" id="{A023AE8F-4BE6-4FE9-8A88-89769EB16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968374"/>
                <a:ext cx="49213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6" name="Freeform 122">
                <a:extLst>
                  <a:ext uri="{FF2B5EF4-FFF2-40B4-BE49-F238E27FC236}">
                    <a16:creationId xmlns:a16="http://schemas.microsoft.com/office/drawing/2014/main" id="{E5930A78-BAA7-46F5-BE86-E18537C92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996949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7" name="Freeform 123">
                <a:extLst>
                  <a:ext uri="{FF2B5EF4-FFF2-40B4-BE49-F238E27FC236}">
                    <a16:creationId xmlns:a16="http://schemas.microsoft.com/office/drawing/2014/main" id="{426343D7-353B-4B64-B0D3-5E6A76487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1017586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8" name="Freeform 124">
                <a:extLst>
                  <a:ext uri="{FF2B5EF4-FFF2-40B4-BE49-F238E27FC236}">
                    <a16:creationId xmlns:a16="http://schemas.microsoft.com/office/drawing/2014/main" id="{AEA8A73B-DD18-43E3-AF5E-8D5F78FCB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506" y="1038224"/>
                <a:ext cx="49213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9" name="Freeform 125">
                <a:extLst>
                  <a:ext uri="{FF2B5EF4-FFF2-40B4-BE49-F238E27FC236}">
                    <a16:creationId xmlns:a16="http://schemas.microsoft.com/office/drawing/2014/main" id="{8B0CBC53-D9E1-4A01-920F-1513F9A19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928686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0" name="Freeform 126">
                <a:extLst>
                  <a:ext uri="{FF2B5EF4-FFF2-40B4-BE49-F238E27FC236}">
                    <a16:creationId xmlns:a16="http://schemas.microsoft.com/office/drawing/2014/main" id="{F2B4846B-6B29-4A97-96D2-8EA029A49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949324"/>
                <a:ext cx="49213" cy="19050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1" name="Freeform 127">
                <a:extLst>
                  <a:ext uri="{FF2B5EF4-FFF2-40B4-BE49-F238E27FC236}">
                    <a16:creationId xmlns:a16="http://schemas.microsoft.com/office/drawing/2014/main" id="{E747B2F7-C25C-4F4B-BFF0-2C8543B55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968374"/>
                <a:ext cx="49213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2" name="Freeform 128">
                <a:extLst>
                  <a:ext uri="{FF2B5EF4-FFF2-40B4-BE49-F238E27FC236}">
                    <a16:creationId xmlns:a16="http://schemas.microsoft.com/office/drawing/2014/main" id="{ABC39B88-ACA2-41B4-9131-2D7013B1A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996949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3" name="Freeform 129">
                <a:extLst>
                  <a:ext uri="{FF2B5EF4-FFF2-40B4-BE49-F238E27FC236}">
                    <a16:creationId xmlns:a16="http://schemas.microsoft.com/office/drawing/2014/main" id="{1D0CFE8C-3486-481A-9D4E-3C2FC4F00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1017586"/>
                <a:ext cx="49213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4" name="Freeform 130">
                <a:extLst>
                  <a:ext uri="{FF2B5EF4-FFF2-40B4-BE49-F238E27FC236}">
                    <a16:creationId xmlns:a16="http://schemas.microsoft.com/office/drawing/2014/main" id="{CC8A9974-8A95-4667-B8DF-79B49BA2A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894" y="1038224"/>
                <a:ext cx="49213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5" name="Freeform 131">
                <a:extLst>
                  <a:ext uri="{FF2B5EF4-FFF2-40B4-BE49-F238E27FC236}">
                    <a16:creationId xmlns:a16="http://schemas.microsoft.com/office/drawing/2014/main" id="{4C4AB9B8-0304-44FB-91C1-943D15C9C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969" y="131761"/>
                <a:ext cx="150813" cy="989013"/>
              </a:xfrm>
              <a:custGeom>
                <a:avLst/>
                <a:gdLst>
                  <a:gd name="T0" fmla="*/ 86 w 95"/>
                  <a:gd name="T1" fmla="*/ 623 h 623"/>
                  <a:gd name="T2" fmla="*/ 47 w 95"/>
                  <a:gd name="T3" fmla="*/ 64 h 623"/>
                  <a:gd name="T4" fmla="*/ 9 w 95"/>
                  <a:gd name="T5" fmla="*/ 623 h 623"/>
                  <a:gd name="T6" fmla="*/ 0 w 95"/>
                  <a:gd name="T7" fmla="*/ 623 h 623"/>
                  <a:gd name="T8" fmla="*/ 43 w 95"/>
                  <a:gd name="T9" fmla="*/ 0 h 623"/>
                  <a:gd name="T10" fmla="*/ 52 w 95"/>
                  <a:gd name="T11" fmla="*/ 0 h 623"/>
                  <a:gd name="T12" fmla="*/ 95 w 95"/>
                  <a:gd name="T13" fmla="*/ 623 h 623"/>
                  <a:gd name="T14" fmla="*/ 86 w 95"/>
                  <a:gd name="T15" fmla="*/ 623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623">
                    <a:moveTo>
                      <a:pt x="86" y="623"/>
                    </a:moveTo>
                    <a:lnTo>
                      <a:pt x="47" y="64"/>
                    </a:lnTo>
                    <a:lnTo>
                      <a:pt x="9" y="623"/>
                    </a:lnTo>
                    <a:lnTo>
                      <a:pt x="0" y="62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95" y="623"/>
                    </a:lnTo>
                    <a:lnTo>
                      <a:pt x="86" y="6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6" name="Freeform 132">
                <a:extLst>
                  <a:ext uri="{FF2B5EF4-FFF2-40B4-BE49-F238E27FC236}">
                    <a16:creationId xmlns:a16="http://schemas.microsoft.com/office/drawing/2014/main" id="{20238BEA-51EB-472D-AA2C-957242612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1131" y="1209674"/>
                <a:ext cx="342900" cy="947738"/>
              </a:xfrm>
              <a:custGeom>
                <a:avLst/>
                <a:gdLst>
                  <a:gd name="T0" fmla="*/ 216 w 216"/>
                  <a:gd name="T1" fmla="*/ 597 h 597"/>
                  <a:gd name="T2" fmla="*/ 0 w 216"/>
                  <a:gd name="T3" fmla="*/ 597 h 597"/>
                  <a:gd name="T4" fmla="*/ 57 w 216"/>
                  <a:gd name="T5" fmla="*/ 0 h 597"/>
                  <a:gd name="T6" fmla="*/ 65 w 216"/>
                  <a:gd name="T7" fmla="*/ 0 h 597"/>
                  <a:gd name="T8" fmla="*/ 13 w 216"/>
                  <a:gd name="T9" fmla="*/ 584 h 597"/>
                  <a:gd name="T10" fmla="*/ 208 w 216"/>
                  <a:gd name="T11" fmla="*/ 584 h 597"/>
                  <a:gd name="T12" fmla="*/ 152 w 216"/>
                  <a:gd name="T13" fmla="*/ 0 h 597"/>
                  <a:gd name="T14" fmla="*/ 160 w 216"/>
                  <a:gd name="T15" fmla="*/ 0 h 597"/>
                  <a:gd name="T16" fmla="*/ 216 w 216"/>
                  <a:gd name="T17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" h="597">
                    <a:moveTo>
                      <a:pt x="216" y="597"/>
                    </a:moveTo>
                    <a:lnTo>
                      <a:pt x="0" y="597"/>
                    </a:lnTo>
                    <a:lnTo>
                      <a:pt x="57" y="0"/>
                    </a:lnTo>
                    <a:lnTo>
                      <a:pt x="65" y="0"/>
                    </a:lnTo>
                    <a:lnTo>
                      <a:pt x="13" y="584"/>
                    </a:lnTo>
                    <a:lnTo>
                      <a:pt x="208" y="584"/>
                    </a:lnTo>
                    <a:lnTo>
                      <a:pt x="152" y="0"/>
                    </a:lnTo>
                    <a:lnTo>
                      <a:pt x="160" y="0"/>
                    </a:lnTo>
                    <a:lnTo>
                      <a:pt x="216" y="5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7" name="Freeform 133">
                <a:extLst>
                  <a:ext uri="{FF2B5EF4-FFF2-40B4-BE49-F238E27FC236}">
                    <a16:creationId xmlns:a16="http://schemas.microsoft.com/office/drawing/2014/main" id="{4B75297F-D9F1-49A6-A0AF-808E828B1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594" y="481011"/>
                <a:ext cx="260350" cy="90488"/>
              </a:xfrm>
              <a:custGeom>
                <a:avLst/>
                <a:gdLst>
                  <a:gd name="T0" fmla="*/ 160 w 164"/>
                  <a:gd name="T1" fmla="*/ 57 h 57"/>
                  <a:gd name="T2" fmla="*/ 0 w 164"/>
                  <a:gd name="T3" fmla="*/ 0 h 57"/>
                  <a:gd name="T4" fmla="*/ 164 w 164"/>
                  <a:gd name="T5" fmla="*/ 0 h 57"/>
                  <a:gd name="T6" fmla="*/ 164 w 164"/>
                  <a:gd name="T7" fmla="*/ 9 h 57"/>
                  <a:gd name="T8" fmla="*/ 48 w 164"/>
                  <a:gd name="T9" fmla="*/ 9 h 57"/>
                  <a:gd name="T10" fmla="*/ 160 w 164"/>
                  <a:gd name="T11" fmla="*/ 48 h 57"/>
                  <a:gd name="T12" fmla="*/ 160 w 164"/>
                  <a:gd name="T1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57">
                    <a:moveTo>
                      <a:pt x="160" y="57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9"/>
                    </a:lnTo>
                    <a:lnTo>
                      <a:pt x="48" y="9"/>
                    </a:lnTo>
                    <a:lnTo>
                      <a:pt x="160" y="48"/>
                    </a:lnTo>
                    <a:lnTo>
                      <a:pt x="160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8" name="Freeform 134">
                <a:extLst>
                  <a:ext uri="{FF2B5EF4-FFF2-40B4-BE49-F238E27FC236}">
                    <a16:creationId xmlns:a16="http://schemas.microsoft.com/office/drawing/2014/main" id="{0D04A633-0FF4-454A-BC21-000BD6DD1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156" y="481011"/>
                <a:ext cx="260350" cy="90488"/>
              </a:xfrm>
              <a:custGeom>
                <a:avLst/>
                <a:gdLst>
                  <a:gd name="T0" fmla="*/ 4 w 164"/>
                  <a:gd name="T1" fmla="*/ 57 h 57"/>
                  <a:gd name="T2" fmla="*/ 0 w 164"/>
                  <a:gd name="T3" fmla="*/ 48 h 57"/>
                  <a:gd name="T4" fmla="*/ 112 w 164"/>
                  <a:gd name="T5" fmla="*/ 9 h 57"/>
                  <a:gd name="T6" fmla="*/ 0 w 164"/>
                  <a:gd name="T7" fmla="*/ 9 h 57"/>
                  <a:gd name="T8" fmla="*/ 0 w 164"/>
                  <a:gd name="T9" fmla="*/ 0 h 57"/>
                  <a:gd name="T10" fmla="*/ 164 w 164"/>
                  <a:gd name="T11" fmla="*/ 0 h 57"/>
                  <a:gd name="T12" fmla="*/ 4 w 164"/>
                  <a:gd name="T13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57">
                    <a:moveTo>
                      <a:pt x="4" y="57"/>
                    </a:moveTo>
                    <a:lnTo>
                      <a:pt x="0" y="48"/>
                    </a:lnTo>
                    <a:lnTo>
                      <a:pt x="112" y="9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164" y="0"/>
                    </a:lnTo>
                    <a:lnTo>
                      <a:pt x="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9" name="Freeform 135">
                <a:extLst>
                  <a:ext uri="{FF2B5EF4-FFF2-40B4-BE49-F238E27FC236}">
                    <a16:creationId xmlns:a16="http://schemas.microsoft.com/office/drawing/2014/main" id="{D9C206A2-2602-4974-A7FD-07ED868F1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1794" y="804861"/>
                <a:ext cx="520700" cy="123825"/>
              </a:xfrm>
              <a:custGeom>
                <a:avLst/>
                <a:gdLst>
                  <a:gd name="T0" fmla="*/ 328 w 328"/>
                  <a:gd name="T1" fmla="*/ 78 h 78"/>
                  <a:gd name="T2" fmla="*/ 4 w 328"/>
                  <a:gd name="T3" fmla="*/ 78 h 78"/>
                  <a:gd name="T4" fmla="*/ 4 w 328"/>
                  <a:gd name="T5" fmla="*/ 69 h 78"/>
                  <a:gd name="T6" fmla="*/ 281 w 328"/>
                  <a:gd name="T7" fmla="*/ 69 h 78"/>
                  <a:gd name="T8" fmla="*/ 0 w 328"/>
                  <a:gd name="T9" fmla="*/ 13 h 78"/>
                  <a:gd name="T10" fmla="*/ 0 w 328"/>
                  <a:gd name="T11" fmla="*/ 0 h 78"/>
                  <a:gd name="T12" fmla="*/ 328 w 328"/>
                  <a:gd name="T13" fmla="*/ 69 h 78"/>
                  <a:gd name="T14" fmla="*/ 328 w 328"/>
                  <a:gd name="T1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78">
                    <a:moveTo>
                      <a:pt x="328" y="78"/>
                    </a:moveTo>
                    <a:lnTo>
                      <a:pt x="4" y="78"/>
                    </a:lnTo>
                    <a:lnTo>
                      <a:pt x="4" y="69"/>
                    </a:lnTo>
                    <a:lnTo>
                      <a:pt x="281" y="6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328" y="69"/>
                    </a:lnTo>
                    <a:lnTo>
                      <a:pt x="328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0" name="Freeform 136">
                <a:extLst>
                  <a:ext uri="{FF2B5EF4-FFF2-40B4-BE49-F238E27FC236}">
                    <a16:creationId xmlns:a16="http://schemas.microsoft.com/office/drawing/2014/main" id="{CB861842-1386-4D77-9BFE-57CC9D22D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4256" y="804861"/>
                <a:ext cx="528638" cy="123825"/>
              </a:xfrm>
              <a:custGeom>
                <a:avLst/>
                <a:gdLst>
                  <a:gd name="T0" fmla="*/ 324 w 333"/>
                  <a:gd name="T1" fmla="*/ 78 h 78"/>
                  <a:gd name="T2" fmla="*/ 4 w 333"/>
                  <a:gd name="T3" fmla="*/ 78 h 78"/>
                  <a:gd name="T4" fmla="*/ 0 w 333"/>
                  <a:gd name="T5" fmla="*/ 69 h 78"/>
                  <a:gd name="T6" fmla="*/ 328 w 333"/>
                  <a:gd name="T7" fmla="*/ 0 h 78"/>
                  <a:gd name="T8" fmla="*/ 333 w 333"/>
                  <a:gd name="T9" fmla="*/ 13 h 78"/>
                  <a:gd name="T10" fmla="*/ 47 w 333"/>
                  <a:gd name="T11" fmla="*/ 69 h 78"/>
                  <a:gd name="T12" fmla="*/ 324 w 333"/>
                  <a:gd name="T13" fmla="*/ 69 h 78"/>
                  <a:gd name="T14" fmla="*/ 324 w 333"/>
                  <a:gd name="T1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3" h="78">
                    <a:moveTo>
                      <a:pt x="324" y="78"/>
                    </a:moveTo>
                    <a:lnTo>
                      <a:pt x="4" y="78"/>
                    </a:lnTo>
                    <a:lnTo>
                      <a:pt x="0" y="69"/>
                    </a:lnTo>
                    <a:lnTo>
                      <a:pt x="328" y="0"/>
                    </a:lnTo>
                    <a:lnTo>
                      <a:pt x="333" y="13"/>
                    </a:lnTo>
                    <a:lnTo>
                      <a:pt x="47" y="69"/>
                    </a:lnTo>
                    <a:lnTo>
                      <a:pt x="324" y="69"/>
                    </a:lnTo>
                    <a:lnTo>
                      <a:pt x="324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1" name="Freeform 137">
                <a:extLst>
                  <a:ext uri="{FF2B5EF4-FFF2-40B4-BE49-F238E27FC236}">
                    <a16:creationId xmlns:a16="http://schemas.microsoft.com/office/drawing/2014/main" id="{9202214C-8E9B-42A6-92E8-155F9E14B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9356" y="1106486"/>
                <a:ext cx="342900" cy="109538"/>
              </a:xfrm>
              <a:custGeom>
                <a:avLst/>
                <a:gdLst>
                  <a:gd name="T0" fmla="*/ 211 w 216"/>
                  <a:gd name="T1" fmla="*/ 69 h 69"/>
                  <a:gd name="T2" fmla="*/ 0 w 216"/>
                  <a:gd name="T3" fmla="*/ 69 h 69"/>
                  <a:gd name="T4" fmla="*/ 216 w 216"/>
                  <a:gd name="T5" fmla="*/ 0 h 69"/>
                  <a:gd name="T6" fmla="*/ 211 w 216"/>
                  <a:gd name="T7" fmla="*/ 69 h 69"/>
                  <a:gd name="T8" fmla="*/ 60 w 216"/>
                  <a:gd name="T9" fmla="*/ 61 h 69"/>
                  <a:gd name="T10" fmla="*/ 203 w 216"/>
                  <a:gd name="T11" fmla="*/ 61 h 69"/>
                  <a:gd name="T12" fmla="*/ 207 w 216"/>
                  <a:gd name="T13" fmla="*/ 13 h 69"/>
                  <a:gd name="T14" fmla="*/ 60 w 216"/>
                  <a:gd name="T15" fmla="*/ 6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6" h="69">
                    <a:moveTo>
                      <a:pt x="211" y="69"/>
                    </a:moveTo>
                    <a:lnTo>
                      <a:pt x="0" y="69"/>
                    </a:lnTo>
                    <a:lnTo>
                      <a:pt x="216" y="0"/>
                    </a:lnTo>
                    <a:lnTo>
                      <a:pt x="211" y="69"/>
                    </a:lnTo>
                    <a:close/>
                    <a:moveTo>
                      <a:pt x="60" y="61"/>
                    </a:moveTo>
                    <a:lnTo>
                      <a:pt x="203" y="61"/>
                    </a:lnTo>
                    <a:lnTo>
                      <a:pt x="207" y="13"/>
                    </a:lnTo>
                    <a:lnTo>
                      <a:pt x="60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2" name="Freeform 138">
                <a:extLst>
                  <a:ext uri="{FF2B5EF4-FFF2-40B4-BE49-F238E27FC236}">
                    <a16:creationId xmlns:a16="http://schemas.microsoft.com/office/drawing/2014/main" id="{096B9EFD-94FA-4B5E-AAC7-A57BA834F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4494" y="1106486"/>
                <a:ext cx="342900" cy="109538"/>
              </a:xfrm>
              <a:custGeom>
                <a:avLst/>
                <a:gdLst>
                  <a:gd name="T0" fmla="*/ 216 w 216"/>
                  <a:gd name="T1" fmla="*/ 69 h 69"/>
                  <a:gd name="T2" fmla="*/ 5 w 216"/>
                  <a:gd name="T3" fmla="*/ 69 h 69"/>
                  <a:gd name="T4" fmla="*/ 0 w 216"/>
                  <a:gd name="T5" fmla="*/ 0 h 69"/>
                  <a:gd name="T6" fmla="*/ 216 w 216"/>
                  <a:gd name="T7" fmla="*/ 69 h 69"/>
                  <a:gd name="T8" fmla="*/ 13 w 216"/>
                  <a:gd name="T9" fmla="*/ 61 h 69"/>
                  <a:gd name="T10" fmla="*/ 156 w 216"/>
                  <a:gd name="T11" fmla="*/ 61 h 69"/>
                  <a:gd name="T12" fmla="*/ 9 w 216"/>
                  <a:gd name="T13" fmla="*/ 13 h 69"/>
                  <a:gd name="T14" fmla="*/ 13 w 216"/>
                  <a:gd name="T15" fmla="*/ 6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6" h="69">
                    <a:moveTo>
                      <a:pt x="216" y="69"/>
                    </a:moveTo>
                    <a:lnTo>
                      <a:pt x="5" y="69"/>
                    </a:lnTo>
                    <a:lnTo>
                      <a:pt x="0" y="0"/>
                    </a:lnTo>
                    <a:lnTo>
                      <a:pt x="216" y="69"/>
                    </a:lnTo>
                    <a:close/>
                    <a:moveTo>
                      <a:pt x="13" y="61"/>
                    </a:moveTo>
                    <a:lnTo>
                      <a:pt x="156" y="61"/>
                    </a:lnTo>
                    <a:lnTo>
                      <a:pt x="9" y="13"/>
                    </a:lnTo>
                    <a:lnTo>
                      <a:pt x="1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3" name="Freeform 139">
                <a:extLst>
                  <a:ext uri="{FF2B5EF4-FFF2-40B4-BE49-F238E27FC236}">
                    <a16:creationId xmlns:a16="http://schemas.microsoft.com/office/drawing/2014/main" id="{34A2A0F6-D305-4886-9354-CBFAE6CD5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9069" y="2000249"/>
                <a:ext cx="322263" cy="150813"/>
              </a:xfrm>
              <a:custGeom>
                <a:avLst/>
                <a:gdLst>
                  <a:gd name="T0" fmla="*/ 4 w 203"/>
                  <a:gd name="T1" fmla="*/ 95 h 95"/>
                  <a:gd name="T2" fmla="*/ 0 w 203"/>
                  <a:gd name="T3" fmla="*/ 90 h 95"/>
                  <a:gd name="T4" fmla="*/ 198 w 203"/>
                  <a:gd name="T5" fmla="*/ 0 h 95"/>
                  <a:gd name="T6" fmla="*/ 203 w 203"/>
                  <a:gd name="T7" fmla="*/ 8 h 95"/>
                  <a:gd name="T8" fmla="*/ 4 w 203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3" h="95">
                    <a:moveTo>
                      <a:pt x="4" y="95"/>
                    </a:moveTo>
                    <a:lnTo>
                      <a:pt x="0" y="90"/>
                    </a:lnTo>
                    <a:lnTo>
                      <a:pt x="198" y="0"/>
                    </a:lnTo>
                    <a:lnTo>
                      <a:pt x="203" y="8"/>
                    </a:lnTo>
                    <a:lnTo>
                      <a:pt x="4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4" name="Freeform 140">
                <a:extLst>
                  <a:ext uri="{FF2B5EF4-FFF2-40B4-BE49-F238E27FC236}">
                    <a16:creationId xmlns:a16="http://schemas.microsoft.com/office/drawing/2014/main" id="{0280AFA8-D47F-4B99-96ED-607A6CD56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769" y="2000249"/>
                <a:ext cx="315913" cy="150813"/>
              </a:xfrm>
              <a:custGeom>
                <a:avLst/>
                <a:gdLst>
                  <a:gd name="T0" fmla="*/ 199 w 199"/>
                  <a:gd name="T1" fmla="*/ 95 h 95"/>
                  <a:gd name="T2" fmla="*/ 0 w 199"/>
                  <a:gd name="T3" fmla="*/ 8 h 95"/>
                  <a:gd name="T4" fmla="*/ 5 w 199"/>
                  <a:gd name="T5" fmla="*/ 0 h 95"/>
                  <a:gd name="T6" fmla="*/ 199 w 199"/>
                  <a:gd name="T7" fmla="*/ 90 h 95"/>
                  <a:gd name="T8" fmla="*/ 199 w 199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9" h="95">
                    <a:moveTo>
                      <a:pt x="199" y="95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199" y="90"/>
                    </a:lnTo>
                    <a:lnTo>
                      <a:pt x="199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5" name="Freeform 141">
                <a:extLst>
                  <a:ext uri="{FF2B5EF4-FFF2-40B4-BE49-F238E27FC236}">
                    <a16:creationId xmlns:a16="http://schemas.microsoft.com/office/drawing/2014/main" id="{9EBA2FCF-DD01-4983-9C14-0AFDB8334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769" y="1889124"/>
                <a:ext cx="295275" cy="123825"/>
              </a:xfrm>
              <a:custGeom>
                <a:avLst/>
                <a:gdLst>
                  <a:gd name="T0" fmla="*/ 5 w 186"/>
                  <a:gd name="T1" fmla="*/ 78 h 78"/>
                  <a:gd name="T2" fmla="*/ 0 w 186"/>
                  <a:gd name="T3" fmla="*/ 70 h 78"/>
                  <a:gd name="T4" fmla="*/ 182 w 186"/>
                  <a:gd name="T5" fmla="*/ 0 h 78"/>
                  <a:gd name="T6" fmla="*/ 186 w 186"/>
                  <a:gd name="T7" fmla="*/ 9 h 78"/>
                  <a:gd name="T8" fmla="*/ 5 w 186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78">
                    <a:moveTo>
                      <a:pt x="5" y="78"/>
                    </a:moveTo>
                    <a:lnTo>
                      <a:pt x="0" y="70"/>
                    </a:lnTo>
                    <a:lnTo>
                      <a:pt x="182" y="0"/>
                    </a:lnTo>
                    <a:lnTo>
                      <a:pt x="186" y="9"/>
                    </a:lnTo>
                    <a:lnTo>
                      <a:pt x="5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6" name="Freeform 142">
                <a:extLst>
                  <a:ext uri="{FF2B5EF4-FFF2-40B4-BE49-F238E27FC236}">
                    <a16:creationId xmlns:a16="http://schemas.microsoft.com/office/drawing/2014/main" id="{230149F5-900C-400E-9AA3-F610EA233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6056" y="1889124"/>
                <a:ext cx="295275" cy="123825"/>
              </a:xfrm>
              <a:custGeom>
                <a:avLst/>
                <a:gdLst>
                  <a:gd name="T0" fmla="*/ 181 w 186"/>
                  <a:gd name="T1" fmla="*/ 78 h 78"/>
                  <a:gd name="T2" fmla="*/ 0 w 186"/>
                  <a:gd name="T3" fmla="*/ 9 h 78"/>
                  <a:gd name="T4" fmla="*/ 0 w 186"/>
                  <a:gd name="T5" fmla="*/ 0 h 78"/>
                  <a:gd name="T6" fmla="*/ 186 w 186"/>
                  <a:gd name="T7" fmla="*/ 70 h 78"/>
                  <a:gd name="T8" fmla="*/ 181 w 186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6" h="78">
                    <a:moveTo>
                      <a:pt x="181" y="78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186" y="70"/>
                    </a:lnTo>
                    <a:lnTo>
                      <a:pt x="181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7" name="Freeform 143">
                <a:extLst>
                  <a:ext uri="{FF2B5EF4-FFF2-40B4-BE49-F238E27FC236}">
                    <a16:creationId xmlns:a16="http://schemas.microsoft.com/office/drawing/2014/main" id="{07481655-5CF7-4B57-B26B-F1E7F529F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6056" y="1779586"/>
                <a:ext cx="268288" cy="123825"/>
              </a:xfrm>
              <a:custGeom>
                <a:avLst/>
                <a:gdLst>
                  <a:gd name="T0" fmla="*/ 0 w 169"/>
                  <a:gd name="T1" fmla="*/ 78 h 78"/>
                  <a:gd name="T2" fmla="*/ 0 w 169"/>
                  <a:gd name="T3" fmla="*/ 69 h 78"/>
                  <a:gd name="T4" fmla="*/ 169 w 169"/>
                  <a:gd name="T5" fmla="*/ 0 h 78"/>
                  <a:gd name="T6" fmla="*/ 169 w 169"/>
                  <a:gd name="T7" fmla="*/ 9 h 78"/>
                  <a:gd name="T8" fmla="*/ 0 w 169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78">
                    <a:moveTo>
                      <a:pt x="0" y="78"/>
                    </a:moveTo>
                    <a:lnTo>
                      <a:pt x="0" y="69"/>
                    </a:lnTo>
                    <a:lnTo>
                      <a:pt x="169" y="0"/>
                    </a:lnTo>
                    <a:lnTo>
                      <a:pt x="169" y="9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8" name="Freeform 144">
                <a:extLst>
                  <a:ext uri="{FF2B5EF4-FFF2-40B4-BE49-F238E27FC236}">
                    <a16:creationId xmlns:a16="http://schemas.microsoft.com/office/drawing/2014/main" id="{7D245642-3FCE-4B06-9335-51AF2A0BE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406" y="1779586"/>
                <a:ext cx="274638" cy="123825"/>
              </a:xfrm>
              <a:custGeom>
                <a:avLst/>
                <a:gdLst>
                  <a:gd name="T0" fmla="*/ 169 w 173"/>
                  <a:gd name="T1" fmla="*/ 78 h 78"/>
                  <a:gd name="T2" fmla="*/ 0 w 173"/>
                  <a:gd name="T3" fmla="*/ 9 h 78"/>
                  <a:gd name="T4" fmla="*/ 5 w 173"/>
                  <a:gd name="T5" fmla="*/ 0 h 78"/>
                  <a:gd name="T6" fmla="*/ 173 w 173"/>
                  <a:gd name="T7" fmla="*/ 69 h 78"/>
                  <a:gd name="T8" fmla="*/ 169 w 173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78">
                    <a:moveTo>
                      <a:pt x="169" y="78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173" y="69"/>
                    </a:lnTo>
                    <a:lnTo>
                      <a:pt x="169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9" name="Freeform 145">
                <a:extLst>
                  <a:ext uri="{FF2B5EF4-FFF2-40B4-BE49-F238E27FC236}">
                    <a16:creationId xmlns:a16="http://schemas.microsoft.com/office/drawing/2014/main" id="{05508F06-37F5-46D5-AD59-38AA7F87A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406" y="1670049"/>
                <a:ext cx="254000" cy="123825"/>
              </a:xfrm>
              <a:custGeom>
                <a:avLst/>
                <a:gdLst>
                  <a:gd name="T0" fmla="*/ 5 w 160"/>
                  <a:gd name="T1" fmla="*/ 78 h 78"/>
                  <a:gd name="T2" fmla="*/ 0 w 160"/>
                  <a:gd name="T3" fmla="*/ 69 h 78"/>
                  <a:gd name="T4" fmla="*/ 156 w 160"/>
                  <a:gd name="T5" fmla="*/ 0 h 78"/>
                  <a:gd name="T6" fmla="*/ 160 w 160"/>
                  <a:gd name="T7" fmla="*/ 9 h 78"/>
                  <a:gd name="T8" fmla="*/ 5 w 160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78">
                    <a:moveTo>
                      <a:pt x="5" y="78"/>
                    </a:moveTo>
                    <a:lnTo>
                      <a:pt x="0" y="69"/>
                    </a:lnTo>
                    <a:lnTo>
                      <a:pt x="156" y="0"/>
                    </a:lnTo>
                    <a:lnTo>
                      <a:pt x="160" y="9"/>
                    </a:lnTo>
                    <a:lnTo>
                      <a:pt x="5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0" name="Freeform 146">
                <a:extLst>
                  <a:ext uri="{FF2B5EF4-FFF2-40B4-BE49-F238E27FC236}">
                    <a16:creationId xmlns:a16="http://schemas.microsoft.com/office/drawing/2014/main" id="{6DBE853A-4131-4019-8C2C-FF3EA088C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0344" y="1684336"/>
                <a:ext cx="254000" cy="109538"/>
              </a:xfrm>
              <a:custGeom>
                <a:avLst/>
                <a:gdLst>
                  <a:gd name="T0" fmla="*/ 160 w 160"/>
                  <a:gd name="T1" fmla="*/ 69 h 69"/>
                  <a:gd name="T2" fmla="*/ 0 w 160"/>
                  <a:gd name="T3" fmla="*/ 8 h 69"/>
                  <a:gd name="T4" fmla="*/ 4 w 160"/>
                  <a:gd name="T5" fmla="*/ 0 h 69"/>
                  <a:gd name="T6" fmla="*/ 160 w 160"/>
                  <a:gd name="T7" fmla="*/ 60 h 69"/>
                  <a:gd name="T8" fmla="*/ 160 w 160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69">
                    <a:moveTo>
                      <a:pt x="160" y="69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160" y="60"/>
                    </a:lnTo>
                    <a:lnTo>
                      <a:pt x="160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1" name="Freeform 147">
                <a:extLst>
                  <a:ext uri="{FF2B5EF4-FFF2-40B4-BE49-F238E27FC236}">
                    <a16:creationId xmlns:a16="http://schemas.microsoft.com/office/drawing/2014/main" id="{15E71947-723E-4577-9169-4C09348D5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0344" y="1581149"/>
                <a:ext cx="239713" cy="115888"/>
              </a:xfrm>
              <a:custGeom>
                <a:avLst/>
                <a:gdLst>
                  <a:gd name="T0" fmla="*/ 4 w 151"/>
                  <a:gd name="T1" fmla="*/ 73 h 73"/>
                  <a:gd name="T2" fmla="*/ 0 w 151"/>
                  <a:gd name="T3" fmla="*/ 65 h 73"/>
                  <a:gd name="T4" fmla="*/ 147 w 151"/>
                  <a:gd name="T5" fmla="*/ 0 h 73"/>
                  <a:gd name="T6" fmla="*/ 151 w 151"/>
                  <a:gd name="T7" fmla="*/ 8 h 73"/>
                  <a:gd name="T8" fmla="*/ 4 w 151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73">
                    <a:moveTo>
                      <a:pt x="4" y="73"/>
                    </a:moveTo>
                    <a:lnTo>
                      <a:pt x="0" y="65"/>
                    </a:lnTo>
                    <a:lnTo>
                      <a:pt x="147" y="0"/>
                    </a:lnTo>
                    <a:lnTo>
                      <a:pt x="151" y="8"/>
                    </a:lnTo>
                    <a:lnTo>
                      <a:pt x="4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2" name="Freeform 148">
                <a:extLst>
                  <a:ext uri="{FF2B5EF4-FFF2-40B4-BE49-F238E27FC236}">
                    <a16:creationId xmlns:a16="http://schemas.microsoft.com/office/drawing/2014/main" id="{07E7EFE2-DF8A-407A-AA27-DD8852263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3044" y="1581149"/>
                <a:ext cx="233363" cy="103188"/>
              </a:xfrm>
              <a:custGeom>
                <a:avLst/>
                <a:gdLst>
                  <a:gd name="T0" fmla="*/ 143 w 147"/>
                  <a:gd name="T1" fmla="*/ 65 h 65"/>
                  <a:gd name="T2" fmla="*/ 0 w 147"/>
                  <a:gd name="T3" fmla="*/ 8 h 65"/>
                  <a:gd name="T4" fmla="*/ 5 w 147"/>
                  <a:gd name="T5" fmla="*/ 0 h 65"/>
                  <a:gd name="T6" fmla="*/ 147 w 147"/>
                  <a:gd name="T7" fmla="*/ 56 h 65"/>
                  <a:gd name="T8" fmla="*/ 143 w 147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65">
                    <a:moveTo>
                      <a:pt x="143" y="65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147" y="56"/>
                    </a:lnTo>
                    <a:lnTo>
                      <a:pt x="14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3" name="Freeform 149">
                <a:extLst>
                  <a:ext uri="{FF2B5EF4-FFF2-40B4-BE49-F238E27FC236}">
                    <a16:creationId xmlns:a16="http://schemas.microsoft.com/office/drawing/2014/main" id="{F0087FD9-1149-4AC7-90C9-1F142260D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3044" y="1484311"/>
                <a:ext cx="212725" cy="109538"/>
              </a:xfrm>
              <a:custGeom>
                <a:avLst/>
                <a:gdLst>
                  <a:gd name="T0" fmla="*/ 5 w 134"/>
                  <a:gd name="T1" fmla="*/ 69 h 69"/>
                  <a:gd name="T2" fmla="*/ 0 w 134"/>
                  <a:gd name="T3" fmla="*/ 61 h 69"/>
                  <a:gd name="T4" fmla="*/ 134 w 134"/>
                  <a:gd name="T5" fmla="*/ 0 h 69"/>
                  <a:gd name="T6" fmla="*/ 134 w 134"/>
                  <a:gd name="T7" fmla="*/ 9 h 69"/>
                  <a:gd name="T8" fmla="*/ 5 w 134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69">
                    <a:moveTo>
                      <a:pt x="5" y="69"/>
                    </a:moveTo>
                    <a:lnTo>
                      <a:pt x="0" y="61"/>
                    </a:lnTo>
                    <a:lnTo>
                      <a:pt x="134" y="0"/>
                    </a:lnTo>
                    <a:lnTo>
                      <a:pt x="134" y="9"/>
                    </a:lnTo>
                    <a:lnTo>
                      <a:pt x="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4" name="Freeform 150">
                <a:extLst>
                  <a:ext uri="{FF2B5EF4-FFF2-40B4-BE49-F238E27FC236}">
                    <a16:creationId xmlns:a16="http://schemas.microsoft.com/office/drawing/2014/main" id="{C5B1A06D-0643-480B-A177-B836FC806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981" y="1484311"/>
                <a:ext cx="219075" cy="109538"/>
              </a:xfrm>
              <a:custGeom>
                <a:avLst/>
                <a:gdLst>
                  <a:gd name="T0" fmla="*/ 134 w 138"/>
                  <a:gd name="T1" fmla="*/ 69 h 69"/>
                  <a:gd name="T2" fmla="*/ 0 w 138"/>
                  <a:gd name="T3" fmla="*/ 9 h 69"/>
                  <a:gd name="T4" fmla="*/ 4 w 138"/>
                  <a:gd name="T5" fmla="*/ 0 h 69"/>
                  <a:gd name="T6" fmla="*/ 138 w 138"/>
                  <a:gd name="T7" fmla="*/ 61 h 69"/>
                  <a:gd name="T8" fmla="*/ 134 w 138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69">
                    <a:moveTo>
                      <a:pt x="134" y="69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38" y="61"/>
                    </a:lnTo>
                    <a:lnTo>
                      <a:pt x="13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5" name="Freeform 151">
                <a:extLst>
                  <a:ext uri="{FF2B5EF4-FFF2-40B4-BE49-F238E27FC236}">
                    <a16:creationId xmlns:a16="http://schemas.microsoft.com/office/drawing/2014/main" id="{3058C31B-7570-4D9C-B787-C4905C8944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981" y="1401761"/>
                <a:ext cx="198438" cy="96838"/>
              </a:xfrm>
              <a:custGeom>
                <a:avLst/>
                <a:gdLst>
                  <a:gd name="T0" fmla="*/ 4 w 125"/>
                  <a:gd name="T1" fmla="*/ 61 h 61"/>
                  <a:gd name="T2" fmla="*/ 0 w 125"/>
                  <a:gd name="T3" fmla="*/ 52 h 61"/>
                  <a:gd name="T4" fmla="*/ 121 w 125"/>
                  <a:gd name="T5" fmla="*/ 0 h 61"/>
                  <a:gd name="T6" fmla="*/ 125 w 125"/>
                  <a:gd name="T7" fmla="*/ 9 h 61"/>
                  <a:gd name="T8" fmla="*/ 4 w 12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1">
                    <a:moveTo>
                      <a:pt x="4" y="61"/>
                    </a:moveTo>
                    <a:lnTo>
                      <a:pt x="0" y="52"/>
                    </a:lnTo>
                    <a:lnTo>
                      <a:pt x="121" y="0"/>
                    </a:lnTo>
                    <a:lnTo>
                      <a:pt x="125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6" name="Freeform 152">
                <a:extLst>
                  <a:ext uri="{FF2B5EF4-FFF2-40B4-BE49-F238E27FC236}">
                    <a16:creationId xmlns:a16="http://schemas.microsoft.com/office/drawing/2014/main" id="{F17E3DEF-FBEB-41FB-8CCC-BE182FFD4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331" y="1401761"/>
                <a:ext cx="198438" cy="96838"/>
              </a:xfrm>
              <a:custGeom>
                <a:avLst/>
                <a:gdLst>
                  <a:gd name="T0" fmla="*/ 125 w 125"/>
                  <a:gd name="T1" fmla="*/ 61 h 61"/>
                  <a:gd name="T2" fmla="*/ 0 w 125"/>
                  <a:gd name="T3" fmla="*/ 9 h 61"/>
                  <a:gd name="T4" fmla="*/ 4 w 125"/>
                  <a:gd name="T5" fmla="*/ 0 h 61"/>
                  <a:gd name="T6" fmla="*/ 125 w 125"/>
                  <a:gd name="T7" fmla="*/ 52 h 61"/>
                  <a:gd name="T8" fmla="*/ 125 w 12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1">
                    <a:moveTo>
                      <a:pt x="125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25" y="52"/>
                    </a:lnTo>
                    <a:lnTo>
                      <a:pt x="12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7" name="Freeform 153">
                <a:extLst>
                  <a:ext uri="{FF2B5EF4-FFF2-40B4-BE49-F238E27FC236}">
                    <a16:creationId xmlns:a16="http://schemas.microsoft.com/office/drawing/2014/main" id="{56860C22-2752-480F-A938-B1B6EB58C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331" y="1312861"/>
                <a:ext cx="185738" cy="103188"/>
              </a:xfrm>
              <a:custGeom>
                <a:avLst/>
                <a:gdLst>
                  <a:gd name="T0" fmla="*/ 4 w 117"/>
                  <a:gd name="T1" fmla="*/ 65 h 65"/>
                  <a:gd name="T2" fmla="*/ 0 w 117"/>
                  <a:gd name="T3" fmla="*/ 56 h 65"/>
                  <a:gd name="T4" fmla="*/ 112 w 117"/>
                  <a:gd name="T5" fmla="*/ 0 h 65"/>
                  <a:gd name="T6" fmla="*/ 117 w 117"/>
                  <a:gd name="T7" fmla="*/ 9 h 65"/>
                  <a:gd name="T8" fmla="*/ 4 w 117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65">
                    <a:moveTo>
                      <a:pt x="4" y="65"/>
                    </a:moveTo>
                    <a:lnTo>
                      <a:pt x="0" y="56"/>
                    </a:lnTo>
                    <a:lnTo>
                      <a:pt x="112" y="0"/>
                    </a:lnTo>
                    <a:lnTo>
                      <a:pt x="117" y="9"/>
                    </a:lnTo>
                    <a:lnTo>
                      <a:pt x="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8" name="Freeform 154">
                <a:extLst>
                  <a:ext uri="{FF2B5EF4-FFF2-40B4-BE49-F238E27FC236}">
                    <a16:creationId xmlns:a16="http://schemas.microsoft.com/office/drawing/2014/main" id="{B3C6476E-780A-4544-B6E2-AC3FE688B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681" y="1312861"/>
                <a:ext cx="185738" cy="103188"/>
              </a:xfrm>
              <a:custGeom>
                <a:avLst/>
                <a:gdLst>
                  <a:gd name="T0" fmla="*/ 113 w 117"/>
                  <a:gd name="T1" fmla="*/ 65 h 65"/>
                  <a:gd name="T2" fmla="*/ 0 w 117"/>
                  <a:gd name="T3" fmla="*/ 9 h 65"/>
                  <a:gd name="T4" fmla="*/ 5 w 117"/>
                  <a:gd name="T5" fmla="*/ 0 h 65"/>
                  <a:gd name="T6" fmla="*/ 117 w 117"/>
                  <a:gd name="T7" fmla="*/ 56 h 65"/>
                  <a:gd name="T8" fmla="*/ 113 w 117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65">
                    <a:moveTo>
                      <a:pt x="113" y="65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117" y="56"/>
                    </a:lnTo>
                    <a:lnTo>
                      <a:pt x="11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9" name="Freeform 155">
                <a:extLst>
                  <a:ext uri="{FF2B5EF4-FFF2-40B4-BE49-F238E27FC236}">
                    <a16:creationId xmlns:a16="http://schemas.microsoft.com/office/drawing/2014/main" id="{789860F3-C3EA-410D-9B80-D83A8C51D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681" y="1223961"/>
                <a:ext cx="171450" cy="103188"/>
              </a:xfrm>
              <a:custGeom>
                <a:avLst/>
                <a:gdLst>
                  <a:gd name="T0" fmla="*/ 5 w 108"/>
                  <a:gd name="T1" fmla="*/ 65 h 65"/>
                  <a:gd name="T2" fmla="*/ 0 w 108"/>
                  <a:gd name="T3" fmla="*/ 56 h 65"/>
                  <a:gd name="T4" fmla="*/ 104 w 108"/>
                  <a:gd name="T5" fmla="*/ 0 h 65"/>
                  <a:gd name="T6" fmla="*/ 108 w 108"/>
                  <a:gd name="T7" fmla="*/ 8 h 65"/>
                  <a:gd name="T8" fmla="*/ 5 w 108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65">
                    <a:moveTo>
                      <a:pt x="5" y="65"/>
                    </a:moveTo>
                    <a:lnTo>
                      <a:pt x="0" y="56"/>
                    </a:lnTo>
                    <a:lnTo>
                      <a:pt x="104" y="0"/>
                    </a:lnTo>
                    <a:lnTo>
                      <a:pt x="108" y="8"/>
                    </a:lnTo>
                    <a:lnTo>
                      <a:pt x="5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0" name="Freeform 156">
                <a:extLst>
                  <a:ext uri="{FF2B5EF4-FFF2-40B4-BE49-F238E27FC236}">
                    <a16:creationId xmlns:a16="http://schemas.microsoft.com/office/drawing/2014/main" id="{9EFA3F17-5BD7-45E4-82EB-21F76C03F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969" y="1223961"/>
                <a:ext cx="165100" cy="103188"/>
              </a:xfrm>
              <a:custGeom>
                <a:avLst/>
                <a:gdLst>
                  <a:gd name="T0" fmla="*/ 99 w 104"/>
                  <a:gd name="T1" fmla="*/ 65 h 65"/>
                  <a:gd name="T2" fmla="*/ 0 w 104"/>
                  <a:gd name="T3" fmla="*/ 8 h 65"/>
                  <a:gd name="T4" fmla="*/ 4 w 104"/>
                  <a:gd name="T5" fmla="*/ 0 h 65"/>
                  <a:gd name="T6" fmla="*/ 104 w 104"/>
                  <a:gd name="T7" fmla="*/ 56 h 65"/>
                  <a:gd name="T8" fmla="*/ 99 w 10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65">
                    <a:moveTo>
                      <a:pt x="99" y="65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104" y="56"/>
                    </a:lnTo>
                    <a:lnTo>
                      <a:pt x="99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1" name="Freeform 157">
                <a:extLst>
                  <a:ext uri="{FF2B5EF4-FFF2-40B4-BE49-F238E27FC236}">
                    <a16:creationId xmlns:a16="http://schemas.microsoft.com/office/drawing/2014/main" id="{8310CAA1-2DF6-40E2-AB15-067F71070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969" y="1127124"/>
                <a:ext cx="150813" cy="103188"/>
              </a:xfrm>
              <a:custGeom>
                <a:avLst/>
                <a:gdLst>
                  <a:gd name="T0" fmla="*/ 4 w 95"/>
                  <a:gd name="T1" fmla="*/ 65 h 65"/>
                  <a:gd name="T2" fmla="*/ 0 w 95"/>
                  <a:gd name="T3" fmla="*/ 61 h 65"/>
                  <a:gd name="T4" fmla="*/ 91 w 95"/>
                  <a:gd name="T5" fmla="*/ 0 h 65"/>
                  <a:gd name="T6" fmla="*/ 95 w 95"/>
                  <a:gd name="T7" fmla="*/ 9 h 65"/>
                  <a:gd name="T8" fmla="*/ 4 w 95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65">
                    <a:moveTo>
                      <a:pt x="4" y="65"/>
                    </a:moveTo>
                    <a:lnTo>
                      <a:pt x="0" y="61"/>
                    </a:lnTo>
                    <a:lnTo>
                      <a:pt x="91" y="0"/>
                    </a:lnTo>
                    <a:lnTo>
                      <a:pt x="95" y="9"/>
                    </a:lnTo>
                    <a:lnTo>
                      <a:pt x="4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2" name="Freeform 158">
                <a:extLst>
                  <a:ext uri="{FF2B5EF4-FFF2-40B4-BE49-F238E27FC236}">
                    <a16:creationId xmlns:a16="http://schemas.microsoft.com/office/drawing/2014/main" id="{67304EC7-078A-424A-934C-842F35E3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4319" y="1127124"/>
                <a:ext cx="150813" cy="103188"/>
              </a:xfrm>
              <a:custGeom>
                <a:avLst/>
                <a:gdLst>
                  <a:gd name="T0" fmla="*/ 91 w 95"/>
                  <a:gd name="T1" fmla="*/ 65 h 65"/>
                  <a:gd name="T2" fmla="*/ 0 w 95"/>
                  <a:gd name="T3" fmla="*/ 9 h 65"/>
                  <a:gd name="T4" fmla="*/ 5 w 95"/>
                  <a:gd name="T5" fmla="*/ 0 h 65"/>
                  <a:gd name="T6" fmla="*/ 95 w 95"/>
                  <a:gd name="T7" fmla="*/ 61 h 65"/>
                  <a:gd name="T8" fmla="*/ 91 w 95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65">
                    <a:moveTo>
                      <a:pt x="91" y="65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95" y="61"/>
                    </a:lnTo>
                    <a:lnTo>
                      <a:pt x="91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3" name="Freeform 159">
                <a:extLst>
                  <a:ext uri="{FF2B5EF4-FFF2-40B4-BE49-F238E27FC236}">
                    <a16:creationId xmlns:a16="http://schemas.microsoft.com/office/drawing/2014/main" id="{09188110-9598-4CFC-96BA-AC0B4237B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4319" y="1044574"/>
                <a:ext cx="138113" cy="96838"/>
              </a:xfrm>
              <a:custGeom>
                <a:avLst/>
                <a:gdLst>
                  <a:gd name="T0" fmla="*/ 5 w 87"/>
                  <a:gd name="T1" fmla="*/ 61 h 61"/>
                  <a:gd name="T2" fmla="*/ 0 w 87"/>
                  <a:gd name="T3" fmla="*/ 52 h 61"/>
                  <a:gd name="T4" fmla="*/ 82 w 87"/>
                  <a:gd name="T5" fmla="*/ 0 h 61"/>
                  <a:gd name="T6" fmla="*/ 87 w 87"/>
                  <a:gd name="T7" fmla="*/ 9 h 61"/>
                  <a:gd name="T8" fmla="*/ 5 w 87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61">
                    <a:moveTo>
                      <a:pt x="5" y="61"/>
                    </a:moveTo>
                    <a:lnTo>
                      <a:pt x="0" y="52"/>
                    </a:lnTo>
                    <a:lnTo>
                      <a:pt x="82" y="0"/>
                    </a:lnTo>
                    <a:lnTo>
                      <a:pt x="87" y="9"/>
                    </a:lnTo>
                    <a:lnTo>
                      <a:pt x="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4" name="Freeform 160">
                <a:extLst>
                  <a:ext uri="{FF2B5EF4-FFF2-40B4-BE49-F238E27FC236}">
                    <a16:creationId xmlns:a16="http://schemas.microsoft.com/office/drawing/2014/main" id="{5A8BA767-FEBE-4BF7-A0A6-1C5D95AC0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4319" y="1044574"/>
                <a:ext cx="144463" cy="96838"/>
              </a:xfrm>
              <a:custGeom>
                <a:avLst/>
                <a:gdLst>
                  <a:gd name="T0" fmla="*/ 87 w 91"/>
                  <a:gd name="T1" fmla="*/ 61 h 61"/>
                  <a:gd name="T2" fmla="*/ 0 w 91"/>
                  <a:gd name="T3" fmla="*/ 9 h 61"/>
                  <a:gd name="T4" fmla="*/ 9 w 91"/>
                  <a:gd name="T5" fmla="*/ 0 h 61"/>
                  <a:gd name="T6" fmla="*/ 91 w 91"/>
                  <a:gd name="T7" fmla="*/ 52 h 61"/>
                  <a:gd name="T8" fmla="*/ 87 w 9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1">
                    <a:moveTo>
                      <a:pt x="87" y="61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91" y="52"/>
                    </a:lnTo>
                    <a:lnTo>
                      <a:pt x="8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5" name="Freeform 161">
                <a:extLst>
                  <a:ext uri="{FF2B5EF4-FFF2-40B4-BE49-F238E27FC236}">
                    <a16:creationId xmlns:a16="http://schemas.microsoft.com/office/drawing/2014/main" id="{425C5369-6535-4740-9995-6BDD13316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4319" y="962024"/>
                <a:ext cx="130175" cy="96838"/>
              </a:xfrm>
              <a:custGeom>
                <a:avLst/>
                <a:gdLst>
                  <a:gd name="T0" fmla="*/ 9 w 82"/>
                  <a:gd name="T1" fmla="*/ 61 h 61"/>
                  <a:gd name="T2" fmla="*/ 0 w 82"/>
                  <a:gd name="T3" fmla="*/ 52 h 61"/>
                  <a:gd name="T4" fmla="*/ 78 w 82"/>
                  <a:gd name="T5" fmla="*/ 0 h 61"/>
                  <a:gd name="T6" fmla="*/ 82 w 82"/>
                  <a:gd name="T7" fmla="*/ 9 h 61"/>
                  <a:gd name="T8" fmla="*/ 9 w 8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1">
                    <a:moveTo>
                      <a:pt x="9" y="61"/>
                    </a:moveTo>
                    <a:lnTo>
                      <a:pt x="0" y="52"/>
                    </a:lnTo>
                    <a:lnTo>
                      <a:pt x="78" y="0"/>
                    </a:lnTo>
                    <a:lnTo>
                      <a:pt x="82" y="9"/>
                    </a:lnTo>
                    <a:lnTo>
                      <a:pt x="9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6" name="Freeform 162">
                <a:extLst>
                  <a:ext uri="{FF2B5EF4-FFF2-40B4-BE49-F238E27FC236}">
                    <a16:creationId xmlns:a16="http://schemas.microsoft.com/office/drawing/2014/main" id="{7123CA31-4403-4DCD-99D0-E06C34BE2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2256" y="962024"/>
                <a:ext cx="130175" cy="96838"/>
              </a:xfrm>
              <a:custGeom>
                <a:avLst/>
                <a:gdLst>
                  <a:gd name="T0" fmla="*/ 77 w 82"/>
                  <a:gd name="T1" fmla="*/ 61 h 61"/>
                  <a:gd name="T2" fmla="*/ 0 w 82"/>
                  <a:gd name="T3" fmla="*/ 9 h 61"/>
                  <a:gd name="T4" fmla="*/ 4 w 82"/>
                  <a:gd name="T5" fmla="*/ 0 h 61"/>
                  <a:gd name="T6" fmla="*/ 82 w 82"/>
                  <a:gd name="T7" fmla="*/ 52 h 61"/>
                  <a:gd name="T8" fmla="*/ 77 w 8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1">
                    <a:moveTo>
                      <a:pt x="77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82" y="52"/>
                    </a:lnTo>
                    <a:lnTo>
                      <a:pt x="7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7" name="Freeform 163">
                <a:extLst>
                  <a:ext uri="{FF2B5EF4-FFF2-40B4-BE49-F238E27FC236}">
                    <a16:creationId xmlns:a16="http://schemas.microsoft.com/office/drawing/2014/main" id="{948B49BB-0BBF-4225-9F6E-4B677785AE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2256" y="879474"/>
                <a:ext cx="115888" cy="96838"/>
              </a:xfrm>
              <a:custGeom>
                <a:avLst/>
                <a:gdLst>
                  <a:gd name="T0" fmla="*/ 4 w 73"/>
                  <a:gd name="T1" fmla="*/ 61 h 61"/>
                  <a:gd name="T2" fmla="*/ 0 w 73"/>
                  <a:gd name="T3" fmla="*/ 52 h 61"/>
                  <a:gd name="T4" fmla="*/ 69 w 73"/>
                  <a:gd name="T5" fmla="*/ 0 h 61"/>
                  <a:gd name="T6" fmla="*/ 73 w 73"/>
                  <a:gd name="T7" fmla="*/ 9 h 61"/>
                  <a:gd name="T8" fmla="*/ 4 w 73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61">
                    <a:moveTo>
                      <a:pt x="4" y="61"/>
                    </a:moveTo>
                    <a:lnTo>
                      <a:pt x="0" y="52"/>
                    </a:lnTo>
                    <a:lnTo>
                      <a:pt x="69" y="0"/>
                    </a:lnTo>
                    <a:lnTo>
                      <a:pt x="73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8" name="Freeform 164">
                <a:extLst>
                  <a:ext uri="{FF2B5EF4-FFF2-40B4-BE49-F238E27FC236}">
                    <a16:creationId xmlns:a16="http://schemas.microsoft.com/office/drawing/2014/main" id="{BA3A2003-4D8E-4D42-A7BC-ABC6888C4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606" y="879474"/>
                <a:ext cx="115888" cy="96838"/>
              </a:xfrm>
              <a:custGeom>
                <a:avLst/>
                <a:gdLst>
                  <a:gd name="T0" fmla="*/ 69 w 73"/>
                  <a:gd name="T1" fmla="*/ 61 h 61"/>
                  <a:gd name="T2" fmla="*/ 0 w 73"/>
                  <a:gd name="T3" fmla="*/ 9 h 61"/>
                  <a:gd name="T4" fmla="*/ 4 w 73"/>
                  <a:gd name="T5" fmla="*/ 0 h 61"/>
                  <a:gd name="T6" fmla="*/ 73 w 73"/>
                  <a:gd name="T7" fmla="*/ 52 h 61"/>
                  <a:gd name="T8" fmla="*/ 69 w 73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61">
                    <a:moveTo>
                      <a:pt x="69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73" y="52"/>
                    </a:lnTo>
                    <a:lnTo>
                      <a:pt x="69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9" name="Freeform 165">
                <a:extLst>
                  <a:ext uri="{FF2B5EF4-FFF2-40B4-BE49-F238E27FC236}">
                    <a16:creationId xmlns:a16="http://schemas.microsoft.com/office/drawing/2014/main" id="{8E24A856-BA1C-4FD4-AF29-5C9A4C178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606" y="796924"/>
                <a:ext cx="109538" cy="96838"/>
              </a:xfrm>
              <a:custGeom>
                <a:avLst/>
                <a:gdLst>
                  <a:gd name="T0" fmla="*/ 4 w 69"/>
                  <a:gd name="T1" fmla="*/ 61 h 61"/>
                  <a:gd name="T2" fmla="*/ 0 w 69"/>
                  <a:gd name="T3" fmla="*/ 52 h 61"/>
                  <a:gd name="T4" fmla="*/ 60 w 69"/>
                  <a:gd name="T5" fmla="*/ 0 h 61"/>
                  <a:gd name="T6" fmla="*/ 69 w 69"/>
                  <a:gd name="T7" fmla="*/ 9 h 61"/>
                  <a:gd name="T8" fmla="*/ 4 w 69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4" y="61"/>
                    </a:moveTo>
                    <a:lnTo>
                      <a:pt x="0" y="52"/>
                    </a:lnTo>
                    <a:lnTo>
                      <a:pt x="60" y="0"/>
                    </a:lnTo>
                    <a:lnTo>
                      <a:pt x="69" y="9"/>
                    </a:lnTo>
                    <a:lnTo>
                      <a:pt x="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0" name="Freeform 166">
                <a:extLst>
                  <a:ext uri="{FF2B5EF4-FFF2-40B4-BE49-F238E27FC236}">
                    <a16:creationId xmlns:a16="http://schemas.microsoft.com/office/drawing/2014/main" id="{0C5E98C9-6650-4CE6-A3EE-21B5A034F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956" y="796924"/>
                <a:ext cx="103188" cy="96838"/>
              </a:xfrm>
              <a:custGeom>
                <a:avLst/>
                <a:gdLst>
                  <a:gd name="T0" fmla="*/ 61 w 65"/>
                  <a:gd name="T1" fmla="*/ 61 h 61"/>
                  <a:gd name="T2" fmla="*/ 0 w 65"/>
                  <a:gd name="T3" fmla="*/ 9 h 61"/>
                  <a:gd name="T4" fmla="*/ 5 w 65"/>
                  <a:gd name="T5" fmla="*/ 0 h 61"/>
                  <a:gd name="T6" fmla="*/ 65 w 65"/>
                  <a:gd name="T7" fmla="*/ 52 h 61"/>
                  <a:gd name="T8" fmla="*/ 61 w 65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1">
                    <a:moveTo>
                      <a:pt x="61" y="61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65" y="52"/>
                    </a:lnTo>
                    <a:lnTo>
                      <a:pt x="61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1" name="Freeform 167">
                <a:extLst>
                  <a:ext uri="{FF2B5EF4-FFF2-40B4-BE49-F238E27FC236}">
                    <a16:creationId xmlns:a16="http://schemas.microsoft.com/office/drawing/2014/main" id="{C0DB64D6-A896-4047-AA79-806878F19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956" y="714374"/>
                <a:ext cx="96838" cy="96838"/>
              </a:xfrm>
              <a:custGeom>
                <a:avLst/>
                <a:gdLst>
                  <a:gd name="T0" fmla="*/ 5 w 61"/>
                  <a:gd name="T1" fmla="*/ 61 h 61"/>
                  <a:gd name="T2" fmla="*/ 0 w 61"/>
                  <a:gd name="T3" fmla="*/ 52 h 61"/>
                  <a:gd name="T4" fmla="*/ 52 w 61"/>
                  <a:gd name="T5" fmla="*/ 0 h 61"/>
                  <a:gd name="T6" fmla="*/ 61 w 61"/>
                  <a:gd name="T7" fmla="*/ 9 h 61"/>
                  <a:gd name="T8" fmla="*/ 5 w 6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" y="61"/>
                    </a:moveTo>
                    <a:lnTo>
                      <a:pt x="0" y="52"/>
                    </a:lnTo>
                    <a:lnTo>
                      <a:pt x="52" y="0"/>
                    </a:lnTo>
                    <a:lnTo>
                      <a:pt x="61" y="9"/>
                    </a:lnTo>
                    <a:lnTo>
                      <a:pt x="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2" name="Freeform 168">
                <a:extLst>
                  <a:ext uri="{FF2B5EF4-FFF2-40B4-BE49-F238E27FC236}">
                    <a16:creationId xmlns:a16="http://schemas.microsoft.com/office/drawing/2014/main" id="{E5821D3C-6DC0-4FFC-86A2-E50D771BC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894" y="714374"/>
                <a:ext cx="95250" cy="96838"/>
              </a:xfrm>
              <a:custGeom>
                <a:avLst/>
                <a:gdLst>
                  <a:gd name="T0" fmla="*/ 51 w 60"/>
                  <a:gd name="T1" fmla="*/ 61 h 61"/>
                  <a:gd name="T2" fmla="*/ 0 w 60"/>
                  <a:gd name="T3" fmla="*/ 9 h 61"/>
                  <a:gd name="T4" fmla="*/ 4 w 60"/>
                  <a:gd name="T5" fmla="*/ 0 h 61"/>
                  <a:gd name="T6" fmla="*/ 60 w 60"/>
                  <a:gd name="T7" fmla="*/ 52 h 61"/>
                  <a:gd name="T8" fmla="*/ 51 w 60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1">
                    <a:moveTo>
                      <a:pt x="51" y="6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60" y="52"/>
                    </a:lnTo>
                    <a:lnTo>
                      <a:pt x="51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3" name="Freeform 169">
                <a:extLst>
                  <a:ext uri="{FF2B5EF4-FFF2-40B4-BE49-F238E27FC236}">
                    <a16:creationId xmlns:a16="http://schemas.microsoft.com/office/drawing/2014/main" id="{C63AA914-EF67-4809-9224-040469DA9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894" y="639761"/>
                <a:ext cx="80963" cy="88900"/>
              </a:xfrm>
              <a:custGeom>
                <a:avLst/>
                <a:gdLst>
                  <a:gd name="T0" fmla="*/ 4 w 51"/>
                  <a:gd name="T1" fmla="*/ 56 h 56"/>
                  <a:gd name="T2" fmla="*/ 0 w 51"/>
                  <a:gd name="T3" fmla="*/ 47 h 56"/>
                  <a:gd name="T4" fmla="*/ 47 w 51"/>
                  <a:gd name="T5" fmla="*/ 0 h 56"/>
                  <a:gd name="T6" fmla="*/ 51 w 51"/>
                  <a:gd name="T7" fmla="*/ 8 h 56"/>
                  <a:gd name="T8" fmla="*/ 4 w 51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6">
                    <a:moveTo>
                      <a:pt x="4" y="56"/>
                    </a:moveTo>
                    <a:lnTo>
                      <a:pt x="0" y="47"/>
                    </a:lnTo>
                    <a:lnTo>
                      <a:pt x="47" y="0"/>
                    </a:lnTo>
                    <a:lnTo>
                      <a:pt x="51" y="8"/>
                    </a:lnTo>
                    <a:lnTo>
                      <a:pt x="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4" name="Freeform 170">
                <a:extLst>
                  <a:ext uri="{FF2B5EF4-FFF2-40B4-BE49-F238E27FC236}">
                    <a16:creationId xmlns:a16="http://schemas.microsoft.com/office/drawing/2014/main" id="{A1CD34BF-025E-44BF-A2E7-0A188C862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894" y="639761"/>
                <a:ext cx="88900" cy="88900"/>
              </a:xfrm>
              <a:custGeom>
                <a:avLst/>
                <a:gdLst>
                  <a:gd name="T0" fmla="*/ 47 w 56"/>
                  <a:gd name="T1" fmla="*/ 56 h 56"/>
                  <a:gd name="T2" fmla="*/ 0 w 56"/>
                  <a:gd name="T3" fmla="*/ 8 h 56"/>
                  <a:gd name="T4" fmla="*/ 8 w 56"/>
                  <a:gd name="T5" fmla="*/ 0 h 56"/>
                  <a:gd name="T6" fmla="*/ 56 w 56"/>
                  <a:gd name="T7" fmla="*/ 47 h 56"/>
                  <a:gd name="T8" fmla="*/ 47 w 56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56">
                    <a:moveTo>
                      <a:pt x="47" y="56"/>
                    </a:moveTo>
                    <a:lnTo>
                      <a:pt x="0" y="8"/>
                    </a:lnTo>
                    <a:lnTo>
                      <a:pt x="8" y="0"/>
                    </a:lnTo>
                    <a:lnTo>
                      <a:pt x="56" y="47"/>
                    </a:lnTo>
                    <a:lnTo>
                      <a:pt x="47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5" name="Freeform 171">
                <a:extLst>
                  <a:ext uri="{FF2B5EF4-FFF2-40B4-BE49-F238E27FC236}">
                    <a16:creationId xmlns:a16="http://schemas.microsoft.com/office/drawing/2014/main" id="{BFAD3ED2-D8D7-40C5-B697-539C9CEED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894" y="563561"/>
                <a:ext cx="74613" cy="82550"/>
              </a:xfrm>
              <a:custGeom>
                <a:avLst/>
                <a:gdLst>
                  <a:gd name="T0" fmla="*/ 8 w 47"/>
                  <a:gd name="T1" fmla="*/ 52 h 52"/>
                  <a:gd name="T2" fmla="*/ 0 w 47"/>
                  <a:gd name="T3" fmla="*/ 48 h 52"/>
                  <a:gd name="T4" fmla="*/ 43 w 47"/>
                  <a:gd name="T5" fmla="*/ 0 h 52"/>
                  <a:gd name="T6" fmla="*/ 47 w 47"/>
                  <a:gd name="T7" fmla="*/ 5 h 52"/>
                  <a:gd name="T8" fmla="*/ 8 w 47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52">
                    <a:moveTo>
                      <a:pt x="8" y="52"/>
                    </a:moveTo>
                    <a:lnTo>
                      <a:pt x="0" y="48"/>
                    </a:lnTo>
                    <a:lnTo>
                      <a:pt x="43" y="0"/>
                    </a:lnTo>
                    <a:lnTo>
                      <a:pt x="47" y="5"/>
                    </a:lnTo>
                    <a:lnTo>
                      <a:pt x="8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6" name="Freeform 172">
                <a:extLst>
                  <a:ext uri="{FF2B5EF4-FFF2-40B4-BE49-F238E27FC236}">
                    <a16:creationId xmlns:a16="http://schemas.microsoft.com/office/drawing/2014/main" id="{E700E020-F053-4967-AFCB-4E454D8C3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5594" y="563561"/>
                <a:ext cx="68263" cy="82550"/>
              </a:xfrm>
              <a:custGeom>
                <a:avLst/>
                <a:gdLst>
                  <a:gd name="T0" fmla="*/ 39 w 43"/>
                  <a:gd name="T1" fmla="*/ 52 h 52"/>
                  <a:gd name="T2" fmla="*/ 0 w 43"/>
                  <a:gd name="T3" fmla="*/ 5 h 52"/>
                  <a:gd name="T4" fmla="*/ 9 w 43"/>
                  <a:gd name="T5" fmla="*/ 0 h 52"/>
                  <a:gd name="T6" fmla="*/ 43 w 43"/>
                  <a:gd name="T7" fmla="*/ 48 h 52"/>
                  <a:gd name="T8" fmla="*/ 39 w 43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2">
                    <a:moveTo>
                      <a:pt x="39" y="52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43" y="48"/>
                    </a:lnTo>
                    <a:lnTo>
                      <a:pt x="3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7" name="Freeform 173">
                <a:extLst>
                  <a:ext uri="{FF2B5EF4-FFF2-40B4-BE49-F238E27FC236}">
                    <a16:creationId xmlns:a16="http://schemas.microsoft.com/office/drawing/2014/main" id="{7E1B4898-5B4A-424C-A52F-90FC0A8F7C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9244" y="495299"/>
                <a:ext cx="68263" cy="76200"/>
              </a:xfrm>
              <a:custGeom>
                <a:avLst/>
                <a:gdLst>
                  <a:gd name="T0" fmla="*/ 8 w 43"/>
                  <a:gd name="T1" fmla="*/ 48 h 48"/>
                  <a:gd name="T2" fmla="*/ 0 w 43"/>
                  <a:gd name="T3" fmla="*/ 43 h 48"/>
                  <a:gd name="T4" fmla="*/ 34 w 43"/>
                  <a:gd name="T5" fmla="*/ 0 h 48"/>
                  <a:gd name="T6" fmla="*/ 43 w 43"/>
                  <a:gd name="T7" fmla="*/ 9 h 48"/>
                  <a:gd name="T8" fmla="*/ 8 w 43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8">
                    <a:moveTo>
                      <a:pt x="8" y="48"/>
                    </a:moveTo>
                    <a:lnTo>
                      <a:pt x="0" y="43"/>
                    </a:lnTo>
                    <a:lnTo>
                      <a:pt x="34" y="0"/>
                    </a:lnTo>
                    <a:lnTo>
                      <a:pt x="43" y="9"/>
                    </a:lnTo>
                    <a:lnTo>
                      <a:pt x="8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8" name="Freeform 174">
                <a:extLst>
                  <a:ext uri="{FF2B5EF4-FFF2-40B4-BE49-F238E27FC236}">
                    <a16:creationId xmlns:a16="http://schemas.microsoft.com/office/drawing/2014/main" id="{3B0FF46E-F523-40B2-B9FF-247E0E999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5594" y="495299"/>
                <a:ext cx="61913" cy="82550"/>
              </a:xfrm>
              <a:custGeom>
                <a:avLst/>
                <a:gdLst>
                  <a:gd name="T0" fmla="*/ 30 w 39"/>
                  <a:gd name="T1" fmla="*/ 52 h 52"/>
                  <a:gd name="T2" fmla="*/ 0 w 39"/>
                  <a:gd name="T3" fmla="*/ 4 h 52"/>
                  <a:gd name="T4" fmla="*/ 9 w 39"/>
                  <a:gd name="T5" fmla="*/ 0 h 52"/>
                  <a:gd name="T6" fmla="*/ 39 w 39"/>
                  <a:gd name="T7" fmla="*/ 48 h 52"/>
                  <a:gd name="T8" fmla="*/ 30 w 3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2">
                    <a:moveTo>
                      <a:pt x="30" y="52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39" y="48"/>
                    </a:lnTo>
                    <a:lnTo>
                      <a:pt x="30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9" name="Freeform 175">
                <a:extLst>
                  <a:ext uri="{FF2B5EF4-FFF2-40B4-BE49-F238E27FC236}">
                    <a16:creationId xmlns:a16="http://schemas.microsoft.com/office/drawing/2014/main" id="{14A44C43-C629-4954-9AEE-99F282732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5594" y="433386"/>
                <a:ext cx="55563" cy="68263"/>
              </a:xfrm>
              <a:custGeom>
                <a:avLst/>
                <a:gdLst>
                  <a:gd name="T0" fmla="*/ 9 w 35"/>
                  <a:gd name="T1" fmla="*/ 43 h 43"/>
                  <a:gd name="T2" fmla="*/ 0 w 35"/>
                  <a:gd name="T3" fmla="*/ 39 h 43"/>
                  <a:gd name="T4" fmla="*/ 30 w 35"/>
                  <a:gd name="T5" fmla="*/ 0 h 43"/>
                  <a:gd name="T6" fmla="*/ 35 w 35"/>
                  <a:gd name="T7" fmla="*/ 9 h 43"/>
                  <a:gd name="T8" fmla="*/ 9 w 35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43">
                    <a:moveTo>
                      <a:pt x="9" y="43"/>
                    </a:moveTo>
                    <a:lnTo>
                      <a:pt x="0" y="39"/>
                    </a:lnTo>
                    <a:lnTo>
                      <a:pt x="30" y="0"/>
                    </a:lnTo>
                    <a:lnTo>
                      <a:pt x="35" y="9"/>
                    </a:lnTo>
                    <a:lnTo>
                      <a:pt x="9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0" name="Freeform 176">
                <a:extLst>
                  <a:ext uri="{FF2B5EF4-FFF2-40B4-BE49-F238E27FC236}">
                    <a16:creationId xmlns:a16="http://schemas.microsoft.com/office/drawing/2014/main" id="{EB596FDA-138C-4C2B-917C-8F68F6A321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5594" y="433386"/>
                <a:ext cx="61913" cy="68263"/>
              </a:xfrm>
              <a:custGeom>
                <a:avLst/>
                <a:gdLst>
                  <a:gd name="T0" fmla="*/ 30 w 39"/>
                  <a:gd name="T1" fmla="*/ 43 h 43"/>
                  <a:gd name="T2" fmla="*/ 0 w 39"/>
                  <a:gd name="T3" fmla="*/ 9 h 43"/>
                  <a:gd name="T4" fmla="*/ 9 w 39"/>
                  <a:gd name="T5" fmla="*/ 0 h 43"/>
                  <a:gd name="T6" fmla="*/ 39 w 39"/>
                  <a:gd name="T7" fmla="*/ 39 h 43"/>
                  <a:gd name="T8" fmla="*/ 30 w 39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3">
                    <a:moveTo>
                      <a:pt x="30" y="43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39" y="39"/>
                    </a:lnTo>
                    <a:lnTo>
                      <a:pt x="3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1" name="Freeform 177">
                <a:extLst>
                  <a:ext uri="{FF2B5EF4-FFF2-40B4-BE49-F238E27FC236}">
                    <a16:creationId xmlns:a16="http://schemas.microsoft.com/office/drawing/2014/main" id="{E4EFE3AB-E149-417D-9F57-B75D52402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5594" y="377824"/>
                <a:ext cx="55563" cy="61913"/>
              </a:xfrm>
              <a:custGeom>
                <a:avLst/>
                <a:gdLst>
                  <a:gd name="T0" fmla="*/ 9 w 35"/>
                  <a:gd name="T1" fmla="*/ 39 h 39"/>
                  <a:gd name="T2" fmla="*/ 0 w 35"/>
                  <a:gd name="T3" fmla="*/ 35 h 39"/>
                  <a:gd name="T4" fmla="*/ 26 w 35"/>
                  <a:gd name="T5" fmla="*/ 0 h 39"/>
                  <a:gd name="T6" fmla="*/ 35 w 35"/>
                  <a:gd name="T7" fmla="*/ 5 h 39"/>
                  <a:gd name="T8" fmla="*/ 9 w 35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9">
                    <a:moveTo>
                      <a:pt x="9" y="39"/>
                    </a:moveTo>
                    <a:lnTo>
                      <a:pt x="0" y="35"/>
                    </a:lnTo>
                    <a:lnTo>
                      <a:pt x="26" y="0"/>
                    </a:lnTo>
                    <a:lnTo>
                      <a:pt x="35" y="5"/>
                    </a:lnTo>
                    <a:lnTo>
                      <a:pt x="9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2" name="Freeform 178">
                <a:extLst>
                  <a:ext uri="{FF2B5EF4-FFF2-40B4-BE49-F238E27FC236}">
                    <a16:creationId xmlns:a16="http://schemas.microsoft.com/office/drawing/2014/main" id="{C011BA22-CDB1-45F3-8A8D-EF5AB1C2B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944" y="377824"/>
                <a:ext cx="49213" cy="61913"/>
              </a:xfrm>
              <a:custGeom>
                <a:avLst/>
                <a:gdLst>
                  <a:gd name="T0" fmla="*/ 22 w 31"/>
                  <a:gd name="T1" fmla="*/ 39 h 39"/>
                  <a:gd name="T2" fmla="*/ 0 w 31"/>
                  <a:gd name="T3" fmla="*/ 5 h 39"/>
                  <a:gd name="T4" fmla="*/ 9 w 31"/>
                  <a:gd name="T5" fmla="*/ 0 h 39"/>
                  <a:gd name="T6" fmla="*/ 31 w 31"/>
                  <a:gd name="T7" fmla="*/ 35 h 39"/>
                  <a:gd name="T8" fmla="*/ 22 w 31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9">
                    <a:moveTo>
                      <a:pt x="22" y="39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31" y="35"/>
                    </a:lnTo>
                    <a:lnTo>
                      <a:pt x="22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3" name="Freeform 179">
                <a:extLst>
                  <a:ext uri="{FF2B5EF4-FFF2-40B4-BE49-F238E27FC236}">
                    <a16:creationId xmlns:a16="http://schemas.microsoft.com/office/drawing/2014/main" id="{99247914-5500-493A-AD8F-9B4DCE689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944" y="309561"/>
                <a:ext cx="41275" cy="76200"/>
              </a:xfrm>
              <a:custGeom>
                <a:avLst/>
                <a:gdLst>
                  <a:gd name="T0" fmla="*/ 9 w 26"/>
                  <a:gd name="T1" fmla="*/ 48 h 48"/>
                  <a:gd name="T2" fmla="*/ 0 w 26"/>
                  <a:gd name="T3" fmla="*/ 43 h 48"/>
                  <a:gd name="T4" fmla="*/ 18 w 26"/>
                  <a:gd name="T5" fmla="*/ 0 h 48"/>
                  <a:gd name="T6" fmla="*/ 26 w 26"/>
                  <a:gd name="T7" fmla="*/ 4 h 48"/>
                  <a:gd name="T8" fmla="*/ 9 w 26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48">
                    <a:moveTo>
                      <a:pt x="9" y="48"/>
                    </a:moveTo>
                    <a:lnTo>
                      <a:pt x="0" y="43"/>
                    </a:lnTo>
                    <a:lnTo>
                      <a:pt x="18" y="0"/>
                    </a:lnTo>
                    <a:lnTo>
                      <a:pt x="26" y="4"/>
                    </a:lnTo>
                    <a:lnTo>
                      <a:pt x="9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4" name="Freeform 180">
                <a:extLst>
                  <a:ext uri="{FF2B5EF4-FFF2-40B4-BE49-F238E27FC236}">
                    <a16:creationId xmlns:a16="http://schemas.microsoft.com/office/drawing/2014/main" id="{55E71E0C-BB5B-45BA-BF22-C2B04A246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944" y="309561"/>
                <a:ext cx="49213" cy="76200"/>
              </a:xfrm>
              <a:custGeom>
                <a:avLst/>
                <a:gdLst>
                  <a:gd name="T0" fmla="*/ 22 w 31"/>
                  <a:gd name="T1" fmla="*/ 48 h 48"/>
                  <a:gd name="T2" fmla="*/ 0 w 31"/>
                  <a:gd name="T3" fmla="*/ 4 h 48"/>
                  <a:gd name="T4" fmla="*/ 9 w 31"/>
                  <a:gd name="T5" fmla="*/ 0 h 48"/>
                  <a:gd name="T6" fmla="*/ 31 w 31"/>
                  <a:gd name="T7" fmla="*/ 43 h 48"/>
                  <a:gd name="T8" fmla="*/ 22 w 31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48">
                    <a:moveTo>
                      <a:pt x="22" y="48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31" y="43"/>
                    </a:lnTo>
                    <a:lnTo>
                      <a:pt x="22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5" name="Freeform 181">
                <a:extLst>
                  <a:ext uri="{FF2B5EF4-FFF2-40B4-BE49-F238E27FC236}">
                    <a16:creationId xmlns:a16="http://schemas.microsoft.com/office/drawing/2014/main" id="{A5A38FDB-34D7-4182-A99B-C7705B163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769" y="831849"/>
                <a:ext cx="96838" cy="96838"/>
              </a:xfrm>
              <a:custGeom>
                <a:avLst/>
                <a:gdLst>
                  <a:gd name="T0" fmla="*/ 52 w 61"/>
                  <a:gd name="T1" fmla="*/ 61 h 61"/>
                  <a:gd name="T2" fmla="*/ 0 w 61"/>
                  <a:gd name="T3" fmla="*/ 4 h 61"/>
                  <a:gd name="T4" fmla="*/ 5 w 61"/>
                  <a:gd name="T5" fmla="*/ 0 h 61"/>
                  <a:gd name="T6" fmla="*/ 61 w 61"/>
                  <a:gd name="T7" fmla="*/ 52 h 61"/>
                  <a:gd name="T8" fmla="*/ 52 w 6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2" y="61"/>
                    </a:moveTo>
                    <a:lnTo>
                      <a:pt x="0" y="4"/>
                    </a:lnTo>
                    <a:lnTo>
                      <a:pt x="5" y="0"/>
                    </a:lnTo>
                    <a:lnTo>
                      <a:pt x="61" y="52"/>
                    </a:lnTo>
                    <a:lnTo>
                      <a:pt x="52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6" name="Freeform 182">
                <a:extLst>
                  <a:ext uri="{FF2B5EF4-FFF2-40B4-BE49-F238E27FC236}">
                    <a16:creationId xmlns:a16="http://schemas.microsoft.com/office/drawing/2014/main" id="{AEAADBF5-1D3E-41BF-B759-CEB3F3160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5419" y="811211"/>
                <a:ext cx="103188" cy="109538"/>
              </a:xfrm>
              <a:custGeom>
                <a:avLst/>
                <a:gdLst>
                  <a:gd name="T0" fmla="*/ 9 w 65"/>
                  <a:gd name="T1" fmla="*/ 69 h 69"/>
                  <a:gd name="T2" fmla="*/ 0 w 65"/>
                  <a:gd name="T3" fmla="*/ 65 h 69"/>
                  <a:gd name="T4" fmla="*/ 56 w 65"/>
                  <a:gd name="T5" fmla="*/ 0 h 69"/>
                  <a:gd name="T6" fmla="*/ 65 w 65"/>
                  <a:gd name="T7" fmla="*/ 9 h 69"/>
                  <a:gd name="T8" fmla="*/ 9 w 65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9">
                    <a:moveTo>
                      <a:pt x="9" y="69"/>
                    </a:moveTo>
                    <a:lnTo>
                      <a:pt x="0" y="65"/>
                    </a:lnTo>
                    <a:lnTo>
                      <a:pt x="56" y="0"/>
                    </a:lnTo>
                    <a:lnTo>
                      <a:pt x="65" y="9"/>
                    </a:lnTo>
                    <a:lnTo>
                      <a:pt x="9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7" name="Freeform 183">
                <a:extLst>
                  <a:ext uri="{FF2B5EF4-FFF2-40B4-BE49-F238E27FC236}">
                    <a16:creationId xmlns:a16="http://schemas.microsoft.com/office/drawing/2014/main" id="{C2228E76-F743-4F37-A872-507EB2927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156" y="846136"/>
                <a:ext cx="82550" cy="82550"/>
              </a:xfrm>
              <a:custGeom>
                <a:avLst/>
                <a:gdLst>
                  <a:gd name="T0" fmla="*/ 47 w 52"/>
                  <a:gd name="T1" fmla="*/ 52 h 52"/>
                  <a:gd name="T2" fmla="*/ 0 w 52"/>
                  <a:gd name="T3" fmla="*/ 4 h 52"/>
                  <a:gd name="T4" fmla="*/ 8 w 52"/>
                  <a:gd name="T5" fmla="*/ 0 h 52"/>
                  <a:gd name="T6" fmla="*/ 52 w 52"/>
                  <a:gd name="T7" fmla="*/ 43 h 52"/>
                  <a:gd name="T8" fmla="*/ 47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47" y="52"/>
                    </a:moveTo>
                    <a:lnTo>
                      <a:pt x="0" y="4"/>
                    </a:lnTo>
                    <a:lnTo>
                      <a:pt x="8" y="0"/>
                    </a:lnTo>
                    <a:lnTo>
                      <a:pt x="52" y="43"/>
                    </a:lnTo>
                    <a:lnTo>
                      <a:pt x="47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8" name="Freeform 184">
                <a:extLst>
                  <a:ext uri="{FF2B5EF4-FFF2-40B4-BE49-F238E27FC236}">
                    <a16:creationId xmlns:a16="http://schemas.microsoft.com/office/drawing/2014/main" id="{B5982543-1ABE-48C5-B885-E109A2EBF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156" y="831849"/>
                <a:ext cx="82550" cy="88900"/>
              </a:xfrm>
              <a:custGeom>
                <a:avLst/>
                <a:gdLst>
                  <a:gd name="T0" fmla="*/ 8 w 52"/>
                  <a:gd name="T1" fmla="*/ 56 h 56"/>
                  <a:gd name="T2" fmla="*/ 0 w 52"/>
                  <a:gd name="T3" fmla="*/ 52 h 56"/>
                  <a:gd name="T4" fmla="*/ 43 w 52"/>
                  <a:gd name="T5" fmla="*/ 0 h 56"/>
                  <a:gd name="T6" fmla="*/ 52 w 52"/>
                  <a:gd name="T7" fmla="*/ 4 h 56"/>
                  <a:gd name="T8" fmla="*/ 8 w 5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6">
                    <a:moveTo>
                      <a:pt x="8" y="56"/>
                    </a:moveTo>
                    <a:lnTo>
                      <a:pt x="0" y="52"/>
                    </a:lnTo>
                    <a:lnTo>
                      <a:pt x="43" y="0"/>
                    </a:lnTo>
                    <a:lnTo>
                      <a:pt x="52" y="4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9" name="Freeform 185">
                <a:extLst>
                  <a:ext uri="{FF2B5EF4-FFF2-40B4-BE49-F238E27FC236}">
                    <a16:creationId xmlns:a16="http://schemas.microsoft.com/office/drawing/2014/main" id="{8C0DF59B-18EC-406D-8743-0FBC8AE4F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8894" y="858836"/>
                <a:ext cx="74613" cy="69850"/>
              </a:xfrm>
              <a:custGeom>
                <a:avLst/>
                <a:gdLst>
                  <a:gd name="T0" fmla="*/ 43 w 47"/>
                  <a:gd name="T1" fmla="*/ 44 h 44"/>
                  <a:gd name="T2" fmla="*/ 0 w 47"/>
                  <a:gd name="T3" fmla="*/ 9 h 44"/>
                  <a:gd name="T4" fmla="*/ 4 w 47"/>
                  <a:gd name="T5" fmla="*/ 0 h 44"/>
                  <a:gd name="T6" fmla="*/ 47 w 47"/>
                  <a:gd name="T7" fmla="*/ 35 h 44"/>
                  <a:gd name="T8" fmla="*/ 43 w 47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4">
                    <a:moveTo>
                      <a:pt x="43" y="44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47" y="35"/>
                    </a:lnTo>
                    <a:lnTo>
                      <a:pt x="43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0" name="Freeform 186">
                <a:extLst>
                  <a:ext uri="{FF2B5EF4-FFF2-40B4-BE49-F238E27FC236}">
                    <a16:creationId xmlns:a16="http://schemas.microsoft.com/office/drawing/2014/main" id="{C3EBF01E-C1C7-461F-A9E5-3C141998D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956" y="846136"/>
                <a:ext cx="88900" cy="82550"/>
              </a:xfrm>
              <a:custGeom>
                <a:avLst/>
                <a:gdLst>
                  <a:gd name="T0" fmla="*/ 9 w 56"/>
                  <a:gd name="T1" fmla="*/ 52 h 52"/>
                  <a:gd name="T2" fmla="*/ 0 w 56"/>
                  <a:gd name="T3" fmla="*/ 43 h 52"/>
                  <a:gd name="T4" fmla="*/ 48 w 56"/>
                  <a:gd name="T5" fmla="*/ 0 h 52"/>
                  <a:gd name="T6" fmla="*/ 56 w 56"/>
                  <a:gd name="T7" fmla="*/ 4 h 52"/>
                  <a:gd name="T8" fmla="*/ 9 w 5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52">
                    <a:moveTo>
                      <a:pt x="9" y="52"/>
                    </a:moveTo>
                    <a:lnTo>
                      <a:pt x="0" y="43"/>
                    </a:lnTo>
                    <a:lnTo>
                      <a:pt x="48" y="0"/>
                    </a:lnTo>
                    <a:lnTo>
                      <a:pt x="56" y="4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1" name="Freeform 187">
                <a:extLst>
                  <a:ext uri="{FF2B5EF4-FFF2-40B4-BE49-F238E27FC236}">
                    <a16:creationId xmlns:a16="http://schemas.microsoft.com/office/drawing/2014/main" id="{5FD9436A-53F2-473E-A946-0EE8D71E7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2694" y="873124"/>
                <a:ext cx="82550" cy="47625"/>
              </a:xfrm>
              <a:custGeom>
                <a:avLst/>
                <a:gdLst>
                  <a:gd name="T0" fmla="*/ 48 w 52"/>
                  <a:gd name="T1" fmla="*/ 30 h 30"/>
                  <a:gd name="T2" fmla="*/ 0 w 52"/>
                  <a:gd name="T3" fmla="*/ 9 h 30"/>
                  <a:gd name="T4" fmla="*/ 4 w 52"/>
                  <a:gd name="T5" fmla="*/ 0 h 30"/>
                  <a:gd name="T6" fmla="*/ 52 w 52"/>
                  <a:gd name="T7" fmla="*/ 22 h 30"/>
                  <a:gd name="T8" fmla="*/ 48 w 52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0">
                    <a:moveTo>
                      <a:pt x="48" y="30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52" y="22"/>
                    </a:lnTo>
                    <a:lnTo>
                      <a:pt x="48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2" name="Freeform 188">
                <a:extLst>
                  <a:ext uri="{FF2B5EF4-FFF2-40B4-BE49-F238E27FC236}">
                    <a16:creationId xmlns:a16="http://schemas.microsoft.com/office/drawing/2014/main" id="{57D893E7-91E0-47E8-915A-BF3D97BA0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2694" y="858836"/>
                <a:ext cx="82550" cy="69850"/>
              </a:xfrm>
              <a:custGeom>
                <a:avLst/>
                <a:gdLst>
                  <a:gd name="T0" fmla="*/ 9 w 52"/>
                  <a:gd name="T1" fmla="*/ 44 h 44"/>
                  <a:gd name="T2" fmla="*/ 0 w 52"/>
                  <a:gd name="T3" fmla="*/ 35 h 44"/>
                  <a:gd name="T4" fmla="*/ 48 w 52"/>
                  <a:gd name="T5" fmla="*/ 0 h 44"/>
                  <a:gd name="T6" fmla="*/ 52 w 52"/>
                  <a:gd name="T7" fmla="*/ 9 h 44"/>
                  <a:gd name="T8" fmla="*/ 9 w 5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4">
                    <a:moveTo>
                      <a:pt x="9" y="44"/>
                    </a:moveTo>
                    <a:lnTo>
                      <a:pt x="0" y="35"/>
                    </a:lnTo>
                    <a:lnTo>
                      <a:pt x="48" y="0"/>
                    </a:lnTo>
                    <a:lnTo>
                      <a:pt x="52" y="9"/>
                    </a:lnTo>
                    <a:lnTo>
                      <a:pt x="9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3" name="Freeform 189">
                <a:extLst>
                  <a:ext uri="{FF2B5EF4-FFF2-40B4-BE49-F238E27FC236}">
                    <a16:creationId xmlns:a16="http://schemas.microsoft.com/office/drawing/2014/main" id="{D745204D-B93D-421B-B5F0-262790344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0781" y="887411"/>
                <a:ext cx="68263" cy="41275"/>
              </a:xfrm>
              <a:custGeom>
                <a:avLst/>
                <a:gdLst>
                  <a:gd name="T0" fmla="*/ 39 w 43"/>
                  <a:gd name="T1" fmla="*/ 26 h 26"/>
                  <a:gd name="T2" fmla="*/ 0 w 43"/>
                  <a:gd name="T3" fmla="*/ 8 h 26"/>
                  <a:gd name="T4" fmla="*/ 5 w 43"/>
                  <a:gd name="T5" fmla="*/ 0 h 26"/>
                  <a:gd name="T6" fmla="*/ 43 w 43"/>
                  <a:gd name="T7" fmla="*/ 17 h 26"/>
                  <a:gd name="T8" fmla="*/ 39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39" y="26"/>
                    </a:moveTo>
                    <a:lnTo>
                      <a:pt x="0" y="8"/>
                    </a:lnTo>
                    <a:lnTo>
                      <a:pt x="5" y="0"/>
                    </a:lnTo>
                    <a:lnTo>
                      <a:pt x="43" y="17"/>
                    </a:lnTo>
                    <a:lnTo>
                      <a:pt x="39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4" name="Freeform 190">
                <a:extLst>
                  <a:ext uri="{FF2B5EF4-FFF2-40B4-BE49-F238E27FC236}">
                    <a16:creationId xmlns:a16="http://schemas.microsoft.com/office/drawing/2014/main" id="{43FA291C-C964-4951-8326-5CAB0FAA2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494" y="831849"/>
                <a:ext cx="96838" cy="96838"/>
              </a:xfrm>
              <a:custGeom>
                <a:avLst/>
                <a:gdLst>
                  <a:gd name="T0" fmla="*/ 5 w 61"/>
                  <a:gd name="T1" fmla="*/ 61 h 61"/>
                  <a:gd name="T2" fmla="*/ 0 w 61"/>
                  <a:gd name="T3" fmla="*/ 52 h 61"/>
                  <a:gd name="T4" fmla="*/ 52 w 61"/>
                  <a:gd name="T5" fmla="*/ 0 h 61"/>
                  <a:gd name="T6" fmla="*/ 61 w 61"/>
                  <a:gd name="T7" fmla="*/ 9 h 61"/>
                  <a:gd name="T8" fmla="*/ 5 w 61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" y="61"/>
                    </a:moveTo>
                    <a:lnTo>
                      <a:pt x="0" y="52"/>
                    </a:lnTo>
                    <a:lnTo>
                      <a:pt x="52" y="0"/>
                    </a:lnTo>
                    <a:lnTo>
                      <a:pt x="61" y="9"/>
                    </a:lnTo>
                    <a:lnTo>
                      <a:pt x="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5" name="Freeform 191">
                <a:extLst>
                  <a:ext uri="{FF2B5EF4-FFF2-40B4-BE49-F238E27FC236}">
                    <a16:creationId xmlns:a16="http://schemas.microsoft.com/office/drawing/2014/main" id="{13CC9387-DF32-427C-9B72-A16D2ECF5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494" y="817561"/>
                <a:ext cx="96838" cy="111125"/>
              </a:xfrm>
              <a:custGeom>
                <a:avLst/>
                <a:gdLst>
                  <a:gd name="T0" fmla="*/ 52 w 61"/>
                  <a:gd name="T1" fmla="*/ 70 h 70"/>
                  <a:gd name="T2" fmla="*/ 0 w 61"/>
                  <a:gd name="T3" fmla="*/ 5 h 70"/>
                  <a:gd name="T4" fmla="*/ 5 w 61"/>
                  <a:gd name="T5" fmla="*/ 0 h 70"/>
                  <a:gd name="T6" fmla="*/ 61 w 61"/>
                  <a:gd name="T7" fmla="*/ 61 h 70"/>
                  <a:gd name="T8" fmla="*/ 52 w 61"/>
                  <a:gd name="T9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70">
                    <a:moveTo>
                      <a:pt x="52" y="70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61" y="61"/>
                    </a:lnTo>
                    <a:lnTo>
                      <a:pt x="5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6" name="Freeform 192">
                <a:extLst>
                  <a:ext uri="{FF2B5EF4-FFF2-40B4-BE49-F238E27FC236}">
                    <a16:creationId xmlns:a16="http://schemas.microsoft.com/office/drawing/2014/main" id="{82364FC5-0817-46A0-8B75-7CCCAEA14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044" y="846136"/>
                <a:ext cx="82550" cy="82550"/>
              </a:xfrm>
              <a:custGeom>
                <a:avLst/>
                <a:gdLst>
                  <a:gd name="T0" fmla="*/ 9 w 52"/>
                  <a:gd name="T1" fmla="*/ 52 h 52"/>
                  <a:gd name="T2" fmla="*/ 0 w 52"/>
                  <a:gd name="T3" fmla="*/ 43 h 52"/>
                  <a:gd name="T4" fmla="*/ 48 w 52"/>
                  <a:gd name="T5" fmla="*/ 0 h 52"/>
                  <a:gd name="T6" fmla="*/ 52 w 52"/>
                  <a:gd name="T7" fmla="*/ 8 h 52"/>
                  <a:gd name="T8" fmla="*/ 9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9" y="52"/>
                    </a:moveTo>
                    <a:lnTo>
                      <a:pt x="0" y="43"/>
                    </a:lnTo>
                    <a:lnTo>
                      <a:pt x="48" y="0"/>
                    </a:lnTo>
                    <a:lnTo>
                      <a:pt x="52" y="8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7" name="Freeform 193">
                <a:extLst>
                  <a:ext uri="{FF2B5EF4-FFF2-40B4-BE49-F238E27FC236}">
                    <a16:creationId xmlns:a16="http://schemas.microsoft.com/office/drawing/2014/main" id="{971CE2C9-7824-4523-9B25-BC278CE0D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044" y="831849"/>
                <a:ext cx="82550" cy="96838"/>
              </a:xfrm>
              <a:custGeom>
                <a:avLst/>
                <a:gdLst>
                  <a:gd name="T0" fmla="*/ 48 w 52"/>
                  <a:gd name="T1" fmla="*/ 61 h 61"/>
                  <a:gd name="T2" fmla="*/ 0 w 52"/>
                  <a:gd name="T3" fmla="*/ 9 h 61"/>
                  <a:gd name="T4" fmla="*/ 9 w 52"/>
                  <a:gd name="T5" fmla="*/ 0 h 61"/>
                  <a:gd name="T6" fmla="*/ 52 w 52"/>
                  <a:gd name="T7" fmla="*/ 52 h 61"/>
                  <a:gd name="T8" fmla="*/ 48 w 5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61">
                    <a:moveTo>
                      <a:pt x="48" y="61"/>
                    </a:moveTo>
                    <a:lnTo>
                      <a:pt x="0" y="9"/>
                    </a:lnTo>
                    <a:lnTo>
                      <a:pt x="9" y="0"/>
                    </a:lnTo>
                    <a:lnTo>
                      <a:pt x="52" y="52"/>
                    </a:lnTo>
                    <a:lnTo>
                      <a:pt x="48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8" name="Freeform 194">
                <a:extLst>
                  <a:ext uri="{FF2B5EF4-FFF2-40B4-BE49-F238E27FC236}">
                    <a16:creationId xmlns:a16="http://schemas.microsoft.com/office/drawing/2014/main" id="{B5DF1845-B4C4-4C85-B48B-413D9AE63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3244" y="858836"/>
                <a:ext cx="82550" cy="69850"/>
              </a:xfrm>
              <a:custGeom>
                <a:avLst/>
                <a:gdLst>
                  <a:gd name="T0" fmla="*/ 4 w 52"/>
                  <a:gd name="T1" fmla="*/ 44 h 44"/>
                  <a:gd name="T2" fmla="*/ 0 w 52"/>
                  <a:gd name="T3" fmla="*/ 35 h 44"/>
                  <a:gd name="T4" fmla="*/ 47 w 52"/>
                  <a:gd name="T5" fmla="*/ 0 h 44"/>
                  <a:gd name="T6" fmla="*/ 52 w 52"/>
                  <a:gd name="T7" fmla="*/ 9 h 44"/>
                  <a:gd name="T8" fmla="*/ 4 w 5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4">
                    <a:moveTo>
                      <a:pt x="4" y="44"/>
                    </a:moveTo>
                    <a:lnTo>
                      <a:pt x="0" y="35"/>
                    </a:lnTo>
                    <a:lnTo>
                      <a:pt x="47" y="0"/>
                    </a:lnTo>
                    <a:lnTo>
                      <a:pt x="52" y="9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9" name="Freeform 195">
                <a:extLst>
                  <a:ext uri="{FF2B5EF4-FFF2-40B4-BE49-F238E27FC236}">
                    <a16:creationId xmlns:a16="http://schemas.microsoft.com/office/drawing/2014/main" id="{23A7F718-5FCB-40D3-8D45-962773C47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3244" y="846136"/>
                <a:ext cx="82550" cy="82550"/>
              </a:xfrm>
              <a:custGeom>
                <a:avLst/>
                <a:gdLst>
                  <a:gd name="T0" fmla="*/ 47 w 52"/>
                  <a:gd name="T1" fmla="*/ 52 h 52"/>
                  <a:gd name="T2" fmla="*/ 0 w 52"/>
                  <a:gd name="T3" fmla="*/ 8 h 52"/>
                  <a:gd name="T4" fmla="*/ 4 w 52"/>
                  <a:gd name="T5" fmla="*/ 0 h 52"/>
                  <a:gd name="T6" fmla="*/ 52 w 52"/>
                  <a:gd name="T7" fmla="*/ 43 h 52"/>
                  <a:gd name="T8" fmla="*/ 47 w 52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52">
                    <a:moveTo>
                      <a:pt x="47" y="52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52" y="43"/>
                    </a:lnTo>
                    <a:lnTo>
                      <a:pt x="47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0" name="Freeform 196">
                <a:extLst>
                  <a:ext uri="{FF2B5EF4-FFF2-40B4-BE49-F238E27FC236}">
                    <a16:creationId xmlns:a16="http://schemas.microsoft.com/office/drawing/2014/main" id="{CA6DE783-F43A-4870-9080-70A1211DF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856" y="873124"/>
                <a:ext cx="76200" cy="47625"/>
              </a:xfrm>
              <a:custGeom>
                <a:avLst/>
                <a:gdLst>
                  <a:gd name="T0" fmla="*/ 5 w 48"/>
                  <a:gd name="T1" fmla="*/ 30 h 30"/>
                  <a:gd name="T2" fmla="*/ 0 w 48"/>
                  <a:gd name="T3" fmla="*/ 26 h 30"/>
                  <a:gd name="T4" fmla="*/ 43 w 48"/>
                  <a:gd name="T5" fmla="*/ 0 h 30"/>
                  <a:gd name="T6" fmla="*/ 48 w 48"/>
                  <a:gd name="T7" fmla="*/ 9 h 30"/>
                  <a:gd name="T8" fmla="*/ 5 w 48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0">
                    <a:moveTo>
                      <a:pt x="5" y="30"/>
                    </a:moveTo>
                    <a:lnTo>
                      <a:pt x="0" y="26"/>
                    </a:lnTo>
                    <a:lnTo>
                      <a:pt x="43" y="0"/>
                    </a:lnTo>
                    <a:lnTo>
                      <a:pt x="48" y="9"/>
                    </a:lnTo>
                    <a:lnTo>
                      <a:pt x="5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1" name="Freeform 197">
                <a:extLst>
                  <a:ext uri="{FF2B5EF4-FFF2-40B4-BE49-F238E27FC236}">
                    <a16:creationId xmlns:a16="http://schemas.microsoft.com/office/drawing/2014/main" id="{036FE1E0-A814-45F0-8ACD-94253B820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856" y="858836"/>
                <a:ext cx="76200" cy="69850"/>
              </a:xfrm>
              <a:custGeom>
                <a:avLst/>
                <a:gdLst>
                  <a:gd name="T0" fmla="*/ 43 w 48"/>
                  <a:gd name="T1" fmla="*/ 44 h 44"/>
                  <a:gd name="T2" fmla="*/ 0 w 48"/>
                  <a:gd name="T3" fmla="*/ 9 h 44"/>
                  <a:gd name="T4" fmla="*/ 5 w 48"/>
                  <a:gd name="T5" fmla="*/ 0 h 44"/>
                  <a:gd name="T6" fmla="*/ 48 w 48"/>
                  <a:gd name="T7" fmla="*/ 35 h 44"/>
                  <a:gd name="T8" fmla="*/ 43 w 48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4">
                    <a:moveTo>
                      <a:pt x="43" y="44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48" y="35"/>
                    </a:lnTo>
                    <a:lnTo>
                      <a:pt x="43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2" name="Freeform 198">
                <a:extLst>
                  <a:ext uri="{FF2B5EF4-FFF2-40B4-BE49-F238E27FC236}">
                    <a16:creationId xmlns:a16="http://schemas.microsoft.com/office/drawing/2014/main" id="{76312488-320E-49E3-9D7F-53ACDAE89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056" y="887411"/>
                <a:ext cx="68263" cy="41275"/>
              </a:xfrm>
              <a:custGeom>
                <a:avLst/>
                <a:gdLst>
                  <a:gd name="T0" fmla="*/ 4 w 43"/>
                  <a:gd name="T1" fmla="*/ 26 h 26"/>
                  <a:gd name="T2" fmla="*/ 0 w 43"/>
                  <a:gd name="T3" fmla="*/ 17 h 26"/>
                  <a:gd name="T4" fmla="*/ 39 w 43"/>
                  <a:gd name="T5" fmla="*/ 0 h 26"/>
                  <a:gd name="T6" fmla="*/ 43 w 43"/>
                  <a:gd name="T7" fmla="*/ 8 h 26"/>
                  <a:gd name="T8" fmla="*/ 4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" y="26"/>
                    </a:moveTo>
                    <a:lnTo>
                      <a:pt x="0" y="17"/>
                    </a:lnTo>
                    <a:lnTo>
                      <a:pt x="39" y="0"/>
                    </a:lnTo>
                    <a:lnTo>
                      <a:pt x="43" y="8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3" name="Freeform 199">
                <a:extLst>
                  <a:ext uri="{FF2B5EF4-FFF2-40B4-BE49-F238E27FC236}">
                    <a16:creationId xmlns:a16="http://schemas.microsoft.com/office/drawing/2014/main" id="{2387BBD0-2044-45B2-8EA3-D2E75A5A7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5419" y="1141411"/>
                <a:ext cx="82550" cy="68263"/>
              </a:xfrm>
              <a:custGeom>
                <a:avLst/>
                <a:gdLst>
                  <a:gd name="T0" fmla="*/ 43 w 52"/>
                  <a:gd name="T1" fmla="*/ 43 h 43"/>
                  <a:gd name="T2" fmla="*/ 0 w 52"/>
                  <a:gd name="T3" fmla="*/ 8 h 43"/>
                  <a:gd name="T4" fmla="*/ 4 w 52"/>
                  <a:gd name="T5" fmla="*/ 0 h 43"/>
                  <a:gd name="T6" fmla="*/ 52 w 52"/>
                  <a:gd name="T7" fmla="*/ 39 h 43"/>
                  <a:gd name="T8" fmla="*/ 43 w 5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3">
                    <a:moveTo>
                      <a:pt x="43" y="43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52" y="39"/>
                    </a:lnTo>
                    <a:lnTo>
                      <a:pt x="4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4" name="Freeform 200">
                <a:extLst>
                  <a:ext uri="{FF2B5EF4-FFF2-40B4-BE49-F238E27FC236}">
                    <a16:creationId xmlns:a16="http://schemas.microsoft.com/office/drawing/2014/main" id="{2AA221EA-5D30-450A-877E-233916DF2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5419" y="1120774"/>
                <a:ext cx="88900" cy="95250"/>
              </a:xfrm>
              <a:custGeom>
                <a:avLst/>
                <a:gdLst>
                  <a:gd name="T0" fmla="*/ 4 w 56"/>
                  <a:gd name="T1" fmla="*/ 60 h 60"/>
                  <a:gd name="T2" fmla="*/ 0 w 56"/>
                  <a:gd name="T3" fmla="*/ 52 h 60"/>
                  <a:gd name="T4" fmla="*/ 48 w 56"/>
                  <a:gd name="T5" fmla="*/ 0 h 60"/>
                  <a:gd name="T6" fmla="*/ 56 w 56"/>
                  <a:gd name="T7" fmla="*/ 4 h 60"/>
                  <a:gd name="T8" fmla="*/ 4 w 56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0">
                    <a:moveTo>
                      <a:pt x="4" y="60"/>
                    </a:moveTo>
                    <a:lnTo>
                      <a:pt x="0" y="52"/>
                    </a:lnTo>
                    <a:lnTo>
                      <a:pt x="48" y="0"/>
                    </a:lnTo>
                    <a:lnTo>
                      <a:pt x="56" y="4"/>
                    </a:ln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5" name="Freeform 201">
                <a:extLst>
                  <a:ext uri="{FF2B5EF4-FFF2-40B4-BE49-F238E27FC236}">
                    <a16:creationId xmlns:a16="http://schemas.microsoft.com/office/drawing/2014/main" id="{65FEA6A3-3F92-44A7-B803-097C893A9B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156" y="1162049"/>
                <a:ext cx="74613" cy="53975"/>
              </a:xfrm>
              <a:custGeom>
                <a:avLst/>
                <a:gdLst>
                  <a:gd name="T0" fmla="*/ 43 w 47"/>
                  <a:gd name="T1" fmla="*/ 34 h 34"/>
                  <a:gd name="T2" fmla="*/ 0 w 47"/>
                  <a:gd name="T3" fmla="*/ 8 h 34"/>
                  <a:gd name="T4" fmla="*/ 4 w 47"/>
                  <a:gd name="T5" fmla="*/ 0 h 34"/>
                  <a:gd name="T6" fmla="*/ 47 w 47"/>
                  <a:gd name="T7" fmla="*/ 26 h 34"/>
                  <a:gd name="T8" fmla="*/ 43 w 47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4">
                    <a:moveTo>
                      <a:pt x="43" y="34"/>
                    </a:moveTo>
                    <a:lnTo>
                      <a:pt x="0" y="8"/>
                    </a:lnTo>
                    <a:lnTo>
                      <a:pt x="4" y="0"/>
                    </a:lnTo>
                    <a:lnTo>
                      <a:pt x="47" y="26"/>
                    </a:lnTo>
                    <a:lnTo>
                      <a:pt x="43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6" name="Freeform 202">
                <a:extLst>
                  <a:ext uri="{FF2B5EF4-FFF2-40B4-BE49-F238E27FC236}">
                    <a16:creationId xmlns:a16="http://schemas.microsoft.com/office/drawing/2014/main" id="{34D7BF26-6F81-47C2-9693-823ACD3975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156" y="1141411"/>
                <a:ext cx="74613" cy="74613"/>
              </a:xfrm>
              <a:custGeom>
                <a:avLst/>
                <a:gdLst>
                  <a:gd name="T0" fmla="*/ 4 w 47"/>
                  <a:gd name="T1" fmla="*/ 47 h 47"/>
                  <a:gd name="T2" fmla="*/ 0 w 47"/>
                  <a:gd name="T3" fmla="*/ 39 h 47"/>
                  <a:gd name="T4" fmla="*/ 43 w 47"/>
                  <a:gd name="T5" fmla="*/ 0 h 47"/>
                  <a:gd name="T6" fmla="*/ 47 w 47"/>
                  <a:gd name="T7" fmla="*/ 8 h 47"/>
                  <a:gd name="T8" fmla="*/ 4 w 47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47">
                    <a:moveTo>
                      <a:pt x="4" y="47"/>
                    </a:moveTo>
                    <a:lnTo>
                      <a:pt x="0" y="39"/>
                    </a:lnTo>
                    <a:lnTo>
                      <a:pt x="43" y="0"/>
                    </a:lnTo>
                    <a:lnTo>
                      <a:pt x="47" y="8"/>
                    </a:lnTo>
                    <a:lnTo>
                      <a:pt x="4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7" name="Freeform 203">
                <a:extLst>
                  <a:ext uri="{FF2B5EF4-FFF2-40B4-BE49-F238E27FC236}">
                    <a16:creationId xmlns:a16="http://schemas.microsoft.com/office/drawing/2014/main" id="{C3B5682B-D402-4E81-A2B1-C4ADCC8CA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9531" y="1174749"/>
                <a:ext cx="53975" cy="41275"/>
              </a:xfrm>
              <a:custGeom>
                <a:avLst/>
                <a:gdLst>
                  <a:gd name="T0" fmla="*/ 30 w 34"/>
                  <a:gd name="T1" fmla="*/ 26 h 26"/>
                  <a:gd name="T2" fmla="*/ 0 w 34"/>
                  <a:gd name="T3" fmla="*/ 9 h 26"/>
                  <a:gd name="T4" fmla="*/ 4 w 34"/>
                  <a:gd name="T5" fmla="*/ 0 h 26"/>
                  <a:gd name="T6" fmla="*/ 34 w 34"/>
                  <a:gd name="T7" fmla="*/ 18 h 26"/>
                  <a:gd name="T8" fmla="*/ 30 w 34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6">
                    <a:moveTo>
                      <a:pt x="30" y="26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34" y="18"/>
                    </a:lnTo>
                    <a:lnTo>
                      <a:pt x="3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8" name="Freeform 204">
                <a:extLst>
                  <a:ext uri="{FF2B5EF4-FFF2-40B4-BE49-F238E27FC236}">
                    <a16:creationId xmlns:a16="http://schemas.microsoft.com/office/drawing/2014/main" id="{235B162F-7B28-46B5-B944-091951ABF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5131" y="1141411"/>
                <a:ext cx="82550" cy="68263"/>
              </a:xfrm>
              <a:custGeom>
                <a:avLst/>
                <a:gdLst>
                  <a:gd name="T0" fmla="*/ 5 w 52"/>
                  <a:gd name="T1" fmla="*/ 43 h 43"/>
                  <a:gd name="T2" fmla="*/ 0 w 52"/>
                  <a:gd name="T3" fmla="*/ 34 h 43"/>
                  <a:gd name="T4" fmla="*/ 43 w 52"/>
                  <a:gd name="T5" fmla="*/ 0 h 43"/>
                  <a:gd name="T6" fmla="*/ 52 w 52"/>
                  <a:gd name="T7" fmla="*/ 4 h 43"/>
                  <a:gd name="T8" fmla="*/ 5 w 5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3">
                    <a:moveTo>
                      <a:pt x="5" y="43"/>
                    </a:moveTo>
                    <a:lnTo>
                      <a:pt x="0" y="34"/>
                    </a:lnTo>
                    <a:lnTo>
                      <a:pt x="43" y="0"/>
                    </a:lnTo>
                    <a:lnTo>
                      <a:pt x="52" y="4"/>
                    </a:lnTo>
                    <a:lnTo>
                      <a:pt x="5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9" name="Freeform 206">
                <a:extLst>
                  <a:ext uri="{FF2B5EF4-FFF2-40B4-BE49-F238E27FC236}">
                    <a16:creationId xmlns:a16="http://schemas.microsoft.com/office/drawing/2014/main" id="{22BAB669-C587-495B-B5F0-86494EEB1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431" y="1112836"/>
                <a:ext cx="95250" cy="96838"/>
              </a:xfrm>
              <a:custGeom>
                <a:avLst/>
                <a:gdLst>
                  <a:gd name="T0" fmla="*/ 51 w 60"/>
                  <a:gd name="T1" fmla="*/ 61 h 61"/>
                  <a:gd name="T2" fmla="*/ 0 w 60"/>
                  <a:gd name="T3" fmla="*/ 9 h 61"/>
                  <a:gd name="T4" fmla="*/ 8 w 60"/>
                  <a:gd name="T5" fmla="*/ 0 h 61"/>
                  <a:gd name="T6" fmla="*/ 60 w 60"/>
                  <a:gd name="T7" fmla="*/ 57 h 61"/>
                  <a:gd name="T8" fmla="*/ 51 w 60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1">
                    <a:moveTo>
                      <a:pt x="51" y="61"/>
                    </a:moveTo>
                    <a:lnTo>
                      <a:pt x="0" y="9"/>
                    </a:lnTo>
                    <a:lnTo>
                      <a:pt x="8" y="0"/>
                    </a:lnTo>
                    <a:lnTo>
                      <a:pt x="60" y="57"/>
                    </a:lnTo>
                    <a:lnTo>
                      <a:pt x="51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0" name="Freeform 207">
                <a:extLst>
                  <a:ext uri="{FF2B5EF4-FFF2-40B4-BE49-F238E27FC236}">
                    <a16:creationId xmlns:a16="http://schemas.microsoft.com/office/drawing/2014/main" id="{E508EAF0-2C0E-4ED1-A13E-745F16354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394" y="1162049"/>
                <a:ext cx="76200" cy="53975"/>
              </a:xfrm>
              <a:custGeom>
                <a:avLst/>
                <a:gdLst>
                  <a:gd name="T0" fmla="*/ 5 w 48"/>
                  <a:gd name="T1" fmla="*/ 34 h 34"/>
                  <a:gd name="T2" fmla="*/ 0 w 48"/>
                  <a:gd name="T3" fmla="*/ 26 h 34"/>
                  <a:gd name="T4" fmla="*/ 44 w 48"/>
                  <a:gd name="T5" fmla="*/ 0 h 34"/>
                  <a:gd name="T6" fmla="*/ 48 w 48"/>
                  <a:gd name="T7" fmla="*/ 8 h 34"/>
                  <a:gd name="T8" fmla="*/ 5 w 48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5" y="34"/>
                    </a:moveTo>
                    <a:lnTo>
                      <a:pt x="0" y="26"/>
                    </a:lnTo>
                    <a:lnTo>
                      <a:pt x="44" y="0"/>
                    </a:lnTo>
                    <a:lnTo>
                      <a:pt x="48" y="8"/>
                    </a:lnTo>
                    <a:lnTo>
                      <a:pt x="5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1" name="Freeform 208">
                <a:extLst>
                  <a:ext uri="{FF2B5EF4-FFF2-40B4-BE49-F238E27FC236}">
                    <a16:creationId xmlns:a16="http://schemas.microsoft.com/office/drawing/2014/main" id="{3A149F41-C746-40DC-8DEF-82B6E1606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394" y="1141411"/>
                <a:ext cx="76200" cy="68263"/>
              </a:xfrm>
              <a:custGeom>
                <a:avLst/>
                <a:gdLst>
                  <a:gd name="T0" fmla="*/ 44 w 48"/>
                  <a:gd name="T1" fmla="*/ 43 h 43"/>
                  <a:gd name="T2" fmla="*/ 0 w 48"/>
                  <a:gd name="T3" fmla="*/ 4 h 43"/>
                  <a:gd name="T4" fmla="*/ 9 w 48"/>
                  <a:gd name="T5" fmla="*/ 0 h 43"/>
                  <a:gd name="T6" fmla="*/ 48 w 48"/>
                  <a:gd name="T7" fmla="*/ 39 h 43"/>
                  <a:gd name="T8" fmla="*/ 44 w 48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44" y="43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48" y="39"/>
                    </a:lnTo>
                    <a:lnTo>
                      <a:pt x="44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2" name="Freeform 209">
                <a:extLst>
                  <a:ext uri="{FF2B5EF4-FFF2-40B4-BE49-F238E27FC236}">
                    <a16:creationId xmlns:a16="http://schemas.microsoft.com/office/drawing/2014/main" id="{6CF33208-51B6-40FE-999E-B0CFD3955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3244" y="1174749"/>
                <a:ext cx="53975" cy="41275"/>
              </a:xfrm>
              <a:custGeom>
                <a:avLst/>
                <a:gdLst>
                  <a:gd name="T0" fmla="*/ 4 w 34"/>
                  <a:gd name="T1" fmla="*/ 26 h 26"/>
                  <a:gd name="T2" fmla="*/ 0 w 34"/>
                  <a:gd name="T3" fmla="*/ 18 h 26"/>
                  <a:gd name="T4" fmla="*/ 30 w 34"/>
                  <a:gd name="T5" fmla="*/ 0 h 26"/>
                  <a:gd name="T6" fmla="*/ 34 w 34"/>
                  <a:gd name="T7" fmla="*/ 9 h 26"/>
                  <a:gd name="T8" fmla="*/ 4 w 34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6">
                    <a:moveTo>
                      <a:pt x="4" y="26"/>
                    </a:moveTo>
                    <a:lnTo>
                      <a:pt x="0" y="18"/>
                    </a:lnTo>
                    <a:lnTo>
                      <a:pt x="30" y="0"/>
                    </a:lnTo>
                    <a:lnTo>
                      <a:pt x="34" y="9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3" name="Freeform 210">
                <a:extLst>
                  <a:ext uri="{FF2B5EF4-FFF2-40B4-BE49-F238E27FC236}">
                    <a16:creationId xmlns:a16="http://schemas.microsoft.com/office/drawing/2014/main" id="{21D35C50-2C07-489F-8745-35B045CC2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506" y="481011"/>
                <a:ext cx="61913" cy="69850"/>
              </a:xfrm>
              <a:custGeom>
                <a:avLst/>
                <a:gdLst>
                  <a:gd name="T0" fmla="*/ 35 w 39"/>
                  <a:gd name="T1" fmla="*/ 44 h 44"/>
                  <a:gd name="T2" fmla="*/ 0 w 39"/>
                  <a:gd name="T3" fmla="*/ 5 h 44"/>
                  <a:gd name="T4" fmla="*/ 4 w 39"/>
                  <a:gd name="T5" fmla="*/ 0 h 44"/>
                  <a:gd name="T6" fmla="*/ 39 w 39"/>
                  <a:gd name="T7" fmla="*/ 35 h 44"/>
                  <a:gd name="T8" fmla="*/ 35 w 39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4">
                    <a:moveTo>
                      <a:pt x="35" y="44"/>
                    </a:moveTo>
                    <a:lnTo>
                      <a:pt x="0" y="5"/>
                    </a:lnTo>
                    <a:lnTo>
                      <a:pt x="4" y="0"/>
                    </a:lnTo>
                    <a:lnTo>
                      <a:pt x="39" y="35"/>
                    </a:lnTo>
                    <a:lnTo>
                      <a:pt x="35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4" name="Freeform 211">
                <a:extLst>
                  <a:ext uri="{FF2B5EF4-FFF2-40B4-BE49-F238E27FC236}">
                    <a16:creationId xmlns:a16="http://schemas.microsoft.com/office/drawing/2014/main" id="{78822257-C65F-4CDE-A71C-85C2108BA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506" y="481011"/>
                <a:ext cx="61913" cy="82550"/>
              </a:xfrm>
              <a:custGeom>
                <a:avLst/>
                <a:gdLst>
                  <a:gd name="T0" fmla="*/ 4 w 39"/>
                  <a:gd name="T1" fmla="*/ 52 h 52"/>
                  <a:gd name="T2" fmla="*/ 0 w 39"/>
                  <a:gd name="T3" fmla="*/ 48 h 52"/>
                  <a:gd name="T4" fmla="*/ 35 w 39"/>
                  <a:gd name="T5" fmla="*/ 0 h 52"/>
                  <a:gd name="T6" fmla="*/ 39 w 39"/>
                  <a:gd name="T7" fmla="*/ 5 h 52"/>
                  <a:gd name="T8" fmla="*/ 4 w 3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2">
                    <a:moveTo>
                      <a:pt x="4" y="52"/>
                    </a:moveTo>
                    <a:lnTo>
                      <a:pt x="0" y="48"/>
                    </a:lnTo>
                    <a:lnTo>
                      <a:pt x="35" y="0"/>
                    </a:lnTo>
                    <a:lnTo>
                      <a:pt x="39" y="5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5" name="Freeform 212">
                <a:extLst>
                  <a:ext uri="{FF2B5EF4-FFF2-40B4-BE49-F238E27FC236}">
                    <a16:creationId xmlns:a16="http://schemas.microsoft.com/office/drawing/2014/main" id="{A4A4E7F5-FBB8-4F0A-B669-3A31D9ED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3069" y="481011"/>
                <a:ext cx="60325" cy="49213"/>
              </a:xfrm>
              <a:custGeom>
                <a:avLst/>
                <a:gdLst>
                  <a:gd name="T0" fmla="*/ 34 w 38"/>
                  <a:gd name="T1" fmla="*/ 31 h 31"/>
                  <a:gd name="T2" fmla="*/ 0 w 38"/>
                  <a:gd name="T3" fmla="*/ 9 h 31"/>
                  <a:gd name="T4" fmla="*/ 4 w 38"/>
                  <a:gd name="T5" fmla="*/ 0 h 31"/>
                  <a:gd name="T6" fmla="*/ 38 w 38"/>
                  <a:gd name="T7" fmla="*/ 22 h 31"/>
                  <a:gd name="T8" fmla="*/ 34 w 38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1">
                    <a:moveTo>
                      <a:pt x="34" y="31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38" y="22"/>
                    </a:lnTo>
                    <a:lnTo>
                      <a:pt x="34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6" name="Freeform 213">
                <a:extLst>
                  <a:ext uri="{FF2B5EF4-FFF2-40B4-BE49-F238E27FC236}">
                    <a16:creationId xmlns:a16="http://schemas.microsoft.com/office/drawing/2014/main" id="{ECED7AEA-3AD5-47E6-B5B8-4B99EF69E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3069" y="481011"/>
                <a:ext cx="60325" cy="69850"/>
              </a:xfrm>
              <a:custGeom>
                <a:avLst/>
                <a:gdLst>
                  <a:gd name="T0" fmla="*/ 4 w 38"/>
                  <a:gd name="T1" fmla="*/ 44 h 44"/>
                  <a:gd name="T2" fmla="*/ 0 w 38"/>
                  <a:gd name="T3" fmla="*/ 35 h 44"/>
                  <a:gd name="T4" fmla="*/ 34 w 38"/>
                  <a:gd name="T5" fmla="*/ 0 h 44"/>
                  <a:gd name="T6" fmla="*/ 38 w 38"/>
                  <a:gd name="T7" fmla="*/ 5 h 44"/>
                  <a:gd name="T8" fmla="*/ 4 w 38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4">
                    <a:moveTo>
                      <a:pt x="4" y="44"/>
                    </a:moveTo>
                    <a:lnTo>
                      <a:pt x="0" y="35"/>
                    </a:lnTo>
                    <a:lnTo>
                      <a:pt x="34" y="0"/>
                    </a:lnTo>
                    <a:lnTo>
                      <a:pt x="38" y="5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7" name="Freeform 214">
                <a:extLst>
                  <a:ext uri="{FF2B5EF4-FFF2-40B4-BE49-F238E27FC236}">
                    <a16:creationId xmlns:a16="http://schemas.microsoft.com/office/drawing/2014/main" id="{CB789365-E2E9-43E2-9A7D-A64B7D94EA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331" y="481011"/>
                <a:ext cx="68263" cy="69850"/>
              </a:xfrm>
              <a:custGeom>
                <a:avLst/>
                <a:gdLst>
                  <a:gd name="T0" fmla="*/ 9 w 43"/>
                  <a:gd name="T1" fmla="*/ 44 h 44"/>
                  <a:gd name="T2" fmla="*/ 0 w 43"/>
                  <a:gd name="T3" fmla="*/ 35 h 44"/>
                  <a:gd name="T4" fmla="*/ 35 w 43"/>
                  <a:gd name="T5" fmla="*/ 0 h 44"/>
                  <a:gd name="T6" fmla="*/ 43 w 43"/>
                  <a:gd name="T7" fmla="*/ 5 h 44"/>
                  <a:gd name="T8" fmla="*/ 9 w 43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9" y="44"/>
                    </a:moveTo>
                    <a:lnTo>
                      <a:pt x="0" y="35"/>
                    </a:lnTo>
                    <a:lnTo>
                      <a:pt x="35" y="0"/>
                    </a:lnTo>
                    <a:lnTo>
                      <a:pt x="43" y="5"/>
                    </a:lnTo>
                    <a:lnTo>
                      <a:pt x="9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8" name="Freeform 215">
                <a:extLst>
                  <a:ext uri="{FF2B5EF4-FFF2-40B4-BE49-F238E27FC236}">
                    <a16:creationId xmlns:a16="http://schemas.microsoft.com/office/drawing/2014/main" id="{CC1970FA-E90E-4073-AC40-6657BF9CD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331" y="481011"/>
                <a:ext cx="68263" cy="82550"/>
              </a:xfrm>
              <a:custGeom>
                <a:avLst/>
                <a:gdLst>
                  <a:gd name="T0" fmla="*/ 35 w 43"/>
                  <a:gd name="T1" fmla="*/ 52 h 52"/>
                  <a:gd name="T2" fmla="*/ 0 w 43"/>
                  <a:gd name="T3" fmla="*/ 5 h 52"/>
                  <a:gd name="T4" fmla="*/ 9 w 43"/>
                  <a:gd name="T5" fmla="*/ 0 h 52"/>
                  <a:gd name="T6" fmla="*/ 43 w 43"/>
                  <a:gd name="T7" fmla="*/ 48 h 52"/>
                  <a:gd name="T8" fmla="*/ 35 w 43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2">
                    <a:moveTo>
                      <a:pt x="35" y="52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43" y="48"/>
                    </a:lnTo>
                    <a:lnTo>
                      <a:pt x="35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9" name="Freeform 216">
                <a:extLst>
                  <a:ext uri="{FF2B5EF4-FFF2-40B4-BE49-F238E27FC236}">
                    <a16:creationId xmlns:a16="http://schemas.microsoft.com/office/drawing/2014/main" id="{DCF2CA2A-68BD-4AE7-8448-45E0A526A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9706" y="481011"/>
                <a:ext cx="61913" cy="49213"/>
              </a:xfrm>
              <a:custGeom>
                <a:avLst/>
                <a:gdLst>
                  <a:gd name="T0" fmla="*/ 4 w 39"/>
                  <a:gd name="T1" fmla="*/ 31 h 31"/>
                  <a:gd name="T2" fmla="*/ 0 w 39"/>
                  <a:gd name="T3" fmla="*/ 22 h 31"/>
                  <a:gd name="T4" fmla="*/ 34 w 39"/>
                  <a:gd name="T5" fmla="*/ 0 h 31"/>
                  <a:gd name="T6" fmla="*/ 39 w 39"/>
                  <a:gd name="T7" fmla="*/ 9 h 31"/>
                  <a:gd name="T8" fmla="*/ 4 w 39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4" y="31"/>
                    </a:moveTo>
                    <a:lnTo>
                      <a:pt x="0" y="22"/>
                    </a:lnTo>
                    <a:lnTo>
                      <a:pt x="34" y="0"/>
                    </a:lnTo>
                    <a:lnTo>
                      <a:pt x="39" y="9"/>
                    </a:lnTo>
                    <a:lnTo>
                      <a:pt x="4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0" name="Freeform 217">
                <a:extLst>
                  <a:ext uri="{FF2B5EF4-FFF2-40B4-BE49-F238E27FC236}">
                    <a16:creationId xmlns:a16="http://schemas.microsoft.com/office/drawing/2014/main" id="{F07D6ABC-8560-4F77-A81B-C9855B5F8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769" y="481011"/>
                <a:ext cx="69850" cy="69850"/>
              </a:xfrm>
              <a:custGeom>
                <a:avLst/>
                <a:gdLst>
                  <a:gd name="T0" fmla="*/ 35 w 44"/>
                  <a:gd name="T1" fmla="*/ 44 h 44"/>
                  <a:gd name="T2" fmla="*/ 0 w 44"/>
                  <a:gd name="T3" fmla="*/ 5 h 44"/>
                  <a:gd name="T4" fmla="*/ 9 w 44"/>
                  <a:gd name="T5" fmla="*/ 0 h 44"/>
                  <a:gd name="T6" fmla="*/ 44 w 44"/>
                  <a:gd name="T7" fmla="*/ 35 h 44"/>
                  <a:gd name="T8" fmla="*/ 35 w 44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4">
                    <a:moveTo>
                      <a:pt x="35" y="44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44" y="35"/>
                    </a:lnTo>
                    <a:lnTo>
                      <a:pt x="35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1" name="Freeform 218">
                <a:extLst>
                  <a:ext uri="{FF2B5EF4-FFF2-40B4-BE49-F238E27FC236}">
                    <a16:creationId xmlns:a16="http://schemas.microsoft.com/office/drawing/2014/main" id="{465F4388-1645-47D9-8FF3-B3B19A7B9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4781" y="481011"/>
                <a:ext cx="41275" cy="34925"/>
              </a:xfrm>
              <a:custGeom>
                <a:avLst/>
                <a:gdLst>
                  <a:gd name="T0" fmla="*/ 4 w 26"/>
                  <a:gd name="T1" fmla="*/ 22 h 22"/>
                  <a:gd name="T2" fmla="*/ 0 w 26"/>
                  <a:gd name="T3" fmla="*/ 18 h 22"/>
                  <a:gd name="T4" fmla="*/ 17 w 26"/>
                  <a:gd name="T5" fmla="*/ 0 h 22"/>
                  <a:gd name="T6" fmla="*/ 26 w 26"/>
                  <a:gd name="T7" fmla="*/ 9 h 22"/>
                  <a:gd name="T8" fmla="*/ 4 w 26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2">
                    <a:moveTo>
                      <a:pt x="4" y="22"/>
                    </a:moveTo>
                    <a:lnTo>
                      <a:pt x="0" y="18"/>
                    </a:lnTo>
                    <a:lnTo>
                      <a:pt x="17" y="0"/>
                    </a:lnTo>
                    <a:lnTo>
                      <a:pt x="26" y="9"/>
                    </a:lnTo>
                    <a:lnTo>
                      <a:pt x="4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2" name="Freeform 219">
                <a:extLst>
                  <a:ext uri="{FF2B5EF4-FFF2-40B4-BE49-F238E27FC236}">
                    <a16:creationId xmlns:a16="http://schemas.microsoft.com/office/drawing/2014/main" id="{D5D78DE1-72A0-43EB-875F-452A578B1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044" y="481011"/>
                <a:ext cx="41275" cy="34925"/>
              </a:xfrm>
              <a:custGeom>
                <a:avLst/>
                <a:gdLst>
                  <a:gd name="T0" fmla="*/ 22 w 26"/>
                  <a:gd name="T1" fmla="*/ 22 h 22"/>
                  <a:gd name="T2" fmla="*/ 0 w 26"/>
                  <a:gd name="T3" fmla="*/ 9 h 22"/>
                  <a:gd name="T4" fmla="*/ 4 w 26"/>
                  <a:gd name="T5" fmla="*/ 0 h 22"/>
                  <a:gd name="T6" fmla="*/ 26 w 26"/>
                  <a:gd name="T7" fmla="*/ 13 h 22"/>
                  <a:gd name="T8" fmla="*/ 22 w 26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2">
                    <a:moveTo>
                      <a:pt x="22" y="22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6" y="13"/>
                    </a:lnTo>
                    <a:lnTo>
                      <a:pt x="2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3" name="Freeform 220">
                <a:extLst>
                  <a:ext uri="{FF2B5EF4-FFF2-40B4-BE49-F238E27FC236}">
                    <a16:creationId xmlns:a16="http://schemas.microsoft.com/office/drawing/2014/main" id="{65FD984B-52DF-48C1-A35D-1043FC862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119" y="1216024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4" name="Freeform 221">
                <a:extLst>
                  <a:ext uri="{FF2B5EF4-FFF2-40B4-BE49-F238E27FC236}">
                    <a16:creationId xmlns:a16="http://schemas.microsoft.com/office/drawing/2014/main" id="{1C874FE2-734B-4B21-86C5-A1FE8B48C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119" y="1236661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5" name="Freeform 222">
                <a:extLst>
                  <a:ext uri="{FF2B5EF4-FFF2-40B4-BE49-F238E27FC236}">
                    <a16:creationId xmlns:a16="http://schemas.microsoft.com/office/drawing/2014/main" id="{82346F39-1577-4B99-A915-0F96824C9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119" y="1257299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6" name="Freeform 223">
                <a:extLst>
                  <a:ext uri="{FF2B5EF4-FFF2-40B4-BE49-F238E27FC236}">
                    <a16:creationId xmlns:a16="http://schemas.microsoft.com/office/drawing/2014/main" id="{08CF853B-47DC-4488-983D-8F58816DE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119" y="1277936"/>
                <a:ext cx="41275" cy="28575"/>
              </a:xfrm>
              <a:custGeom>
                <a:avLst/>
                <a:gdLst>
                  <a:gd name="T0" fmla="*/ 6 w 6"/>
                  <a:gd name="T1" fmla="*/ 2 h 4"/>
                  <a:gd name="T2" fmla="*/ 5 w 6"/>
                  <a:gd name="T3" fmla="*/ 4 h 4"/>
                  <a:gd name="T4" fmla="*/ 1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1 w 6"/>
                  <a:gd name="T11" fmla="*/ 0 h 4"/>
                  <a:gd name="T12" fmla="*/ 5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6" y="4"/>
                      <a:pt x="5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7" name="Freeform 224">
                <a:extLst>
                  <a:ext uri="{FF2B5EF4-FFF2-40B4-BE49-F238E27FC236}">
                    <a16:creationId xmlns:a16="http://schemas.microsoft.com/office/drawing/2014/main" id="{3EE87415-3CA8-4075-ADD8-2CCA950B2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9356" y="1216024"/>
                <a:ext cx="39688" cy="20638"/>
              </a:xfrm>
              <a:custGeom>
                <a:avLst/>
                <a:gdLst>
                  <a:gd name="T0" fmla="*/ 6 w 6"/>
                  <a:gd name="T1" fmla="*/ 1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8" name="Freeform 225">
                <a:extLst>
                  <a:ext uri="{FF2B5EF4-FFF2-40B4-BE49-F238E27FC236}">
                    <a16:creationId xmlns:a16="http://schemas.microsoft.com/office/drawing/2014/main" id="{21BF3324-4451-41F4-93AC-491E12E54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9356" y="1236661"/>
                <a:ext cx="39688" cy="20638"/>
              </a:xfrm>
              <a:custGeom>
                <a:avLst/>
                <a:gdLst>
                  <a:gd name="T0" fmla="*/ 6 w 6"/>
                  <a:gd name="T1" fmla="*/ 2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9" name="Freeform 226">
                <a:extLst>
                  <a:ext uri="{FF2B5EF4-FFF2-40B4-BE49-F238E27FC236}">
                    <a16:creationId xmlns:a16="http://schemas.microsoft.com/office/drawing/2014/main" id="{768E6E8D-8551-401C-98F3-98FCB1461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9356" y="1257299"/>
                <a:ext cx="39688" cy="28575"/>
              </a:xfrm>
              <a:custGeom>
                <a:avLst/>
                <a:gdLst>
                  <a:gd name="T0" fmla="*/ 6 w 6"/>
                  <a:gd name="T1" fmla="*/ 2 h 4"/>
                  <a:gd name="T2" fmla="*/ 4 w 6"/>
                  <a:gd name="T3" fmla="*/ 4 h 4"/>
                  <a:gd name="T4" fmla="*/ 1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1 w 6"/>
                  <a:gd name="T11" fmla="*/ 0 h 4"/>
                  <a:gd name="T12" fmla="*/ 4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5" y="4"/>
                      <a:pt x="4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0" name="Freeform 227">
                <a:extLst>
                  <a:ext uri="{FF2B5EF4-FFF2-40B4-BE49-F238E27FC236}">
                    <a16:creationId xmlns:a16="http://schemas.microsoft.com/office/drawing/2014/main" id="{D4D6ED55-D63A-44E4-BE13-DDE80FA63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9356" y="1285874"/>
                <a:ext cx="39688" cy="20638"/>
              </a:xfrm>
              <a:custGeom>
                <a:avLst/>
                <a:gdLst>
                  <a:gd name="T0" fmla="*/ 6 w 6"/>
                  <a:gd name="T1" fmla="*/ 1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1" name="Freeform 228">
                <a:extLst>
                  <a:ext uri="{FF2B5EF4-FFF2-40B4-BE49-F238E27FC236}">
                    <a16:creationId xmlns:a16="http://schemas.microsoft.com/office/drawing/2014/main" id="{F59C0D4F-B4AA-4089-BEB5-08F0660F1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0231" y="481011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5 w 6"/>
                  <a:gd name="T3" fmla="*/ 3 h 3"/>
                  <a:gd name="T4" fmla="*/ 2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2 w 6"/>
                  <a:gd name="T11" fmla="*/ 0 h 3"/>
                  <a:gd name="T12" fmla="*/ 5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2" name="Freeform 229">
                <a:extLst>
                  <a:ext uri="{FF2B5EF4-FFF2-40B4-BE49-F238E27FC236}">
                    <a16:creationId xmlns:a16="http://schemas.microsoft.com/office/drawing/2014/main" id="{F3D5FFF0-9237-483F-93EC-CB12597D9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0231" y="501649"/>
                <a:ext cx="41275" cy="28575"/>
              </a:xfrm>
              <a:custGeom>
                <a:avLst/>
                <a:gdLst>
                  <a:gd name="T0" fmla="*/ 6 w 6"/>
                  <a:gd name="T1" fmla="*/ 2 h 4"/>
                  <a:gd name="T2" fmla="*/ 5 w 6"/>
                  <a:gd name="T3" fmla="*/ 4 h 4"/>
                  <a:gd name="T4" fmla="*/ 2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2 w 6"/>
                  <a:gd name="T11" fmla="*/ 0 h 4"/>
                  <a:gd name="T12" fmla="*/ 5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3" name="Freeform 230">
                <a:extLst>
                  <a:ext uri="{FF2B5EF4-FFF2-40B4-BE49-F238E27FC236}">
                    <a16:creationId xmlns:a16="http://schemas.microsoft.com/office/drawing/2014/main" id="{12B10496-E415-4F68-80F9-35E09041A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0231" y="530224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2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2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4" name="Freeform 231">
                <a:extLst>
                  <a:ext uri="{FF2B5EF4-FFF2-40B4-BE49-F238E27FC236}">
                    <a16:creationId xmlns:a16="http://schemas.microsoft.com/office/drawing/2014/main" id="{0203DEF7-D44F-4CC1-8B32-2A28DC6CC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0231" y="550861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5 w 6"/>
                  <a:gd name="T3" fmla="*/ 3 h 3"/>
                  <a:gd name="T4" fmla="*/ 2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2 w 6"/>
                  <a:gd name="T11" fmla="*/ 0 h 3"/>
                  <a:gd name="T12" fmla="*/ 5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5" name="Freeform 232">
                <a:extLst>
                  <a:ext uri="{FF2B5EF4-FFF2-40B4-BE49-F238E27FC236}">
                    <a16:creationId xmlns:a16="http://schemas.microsoft.com/office/drawing/2014/main" id="{10A65AA5-D06A-432C-84DA-FB5F05C78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244" y="481011"/>
                <a:ext cx="47625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6" name="Freeform 233">
                <a:extLst>
                  <a:ext uri="{FF2B5EF4-FFF2-40B4-BE49-F238E27FC236}">
                    <a16:creationId xmlns:a16="http://schemas.microsoft.com/office/drawing/2014/main" id="{35896618-CA11-4483-9F6A-2A44B9760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244" y="501649"/>
                <a:ext cx="47625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7" name="Freeform 234">
                <a:extLst>
                  <a:ext uri="{FF2B5EF4-FFF2-40B4-BE49-F238E27FC236}">
                    <a16:creationId xmlns:a16="http://schemas.microsoft.com/office/drawing/2014/main" id="{5474A2F3-2187-447E-8B20-3DAD5BB42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244" y="530224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8" name="Freeform 235">
                <a:extLst>
                  <a:ext uri="{FF2B5EF4-FFF2-40B4-BE49-F238E27FC236}">
                    <a16:creationId xmlns:a16="http://schemas.microsoft.com/office/drawing/2014/main" id="{36647C9B-9F94-448C-ABC4-E2B3F1C55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244" y="550861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9" name="Freeform 236">
                <a:extLst>
                  <a:ext uri="{FF2B5EF4-FFF2-40B4-BE49-F238E27FC236}">
                    <a16:creationId xmlns:a16="http://schemas.microsoft.com/office/drawing/2014/main" id="{54781892-CC9C-4F18-855B-E6676E5A6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928686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0" name="Freeform 237">
                <a:extLst>
                  <a:ext uri="{FF2B5EF4-FFF2-40B4-BE49-F238E27FC236}">
                    <a16:creationId xmlns:a16="http://schemas.microsoft.com/office/drawing/2014/main" id="{18156953-4F1D-4766-9F9C-CBEDDEB83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949324"/>
                <a:ext cx="47625" cy="19050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1" name="Freeform 238">
                <a:extLst>
                  <a:ext uri="{FF2B5EF4-FFF2-40B4-BE49-F238E27FC236}">
                    <a16:creationId xmlns:a16="http://schemas.microsoft.com/office/drawing/2014/main" id="{4AD8278D-BD37-40E2-B3FC-1F4C0A32E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968374"/>
                <a:ext cx="47625" cy="28575"/>
              </a:xfrm>
              <a:custGeom>
                <a:avLst/>
                <a:gdLst>
                  <a:gd name="T0" fmla="*/ 7 w 7"/>
                  <a:gd name="T1" fmla="*/ 2 h 4"/>
                  <a:gd name="T2" fmla="*/ 5 w 7"/>
                  <a:gd name="T3" fmla="*/ 4 h 4"/>
                  <a:gd name="T4" fmla="*/ 2 w 7"/>
                  <a:gd name="T5" fmla="*/ 4 h 4"/>
                  <a:gd name="T6" fmla="*/ 0 w 7"/>
                  <a:gd name="T7" fmla="*/ 2 h 4"/>
                  <a:gd name="T8" fmla="*/ 0 w 7"/>
                  <a:gd name="T9" fmla="*/ 2 h 4"/>
                  <a:gd name="T10" fmla="*/ 2 w 7"/>
                  <a:gd name="T11" fmla="*/ 0 h 4"/>
                  <a:gd name="T12" fmla="*/ 5 w 7"/>
                  <a:gd name="T13" fmla="*/ 0 h 4"/>
                  <a:gd name="T14" fmla="*/ 7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3"/>
                      <a:pt x="6" y="4"/>
                      <a:pt x="5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2" name="Freeform 239">
                <a:extLst>
                  <a:ext uri="{FF2B5EF4-FFF2-40B4-BE49-F238E27FC236}">
                    <a16:creationId xmlns:a16="http://schemas.microsoft.com/office/drawing/2014/main" id="{4F9846E8-0101-43E0-8C57-5FBC878D5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996949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3" name="Freeform 240">
                <a:extLst>
                  <a:ext uri="{FF2B5EF4-FFF2-40B4-BE49-F238E27FC236}">
                    <a16:creationId xmlns:a16="http://schemas.microsoft.com/office/drawing/2014/main" id="{C033A2CF-1BF6-4E2C-93E7-EA217A5391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1017586"/>
                <a:ext cx="47625" cy="20638"/>
              </a:xfrm>
              <a:custGeom>
                <a:avLst/>
                <a:gdLst>
                  <a:gd name="T0" fmla="*/ 7 w 7"/>
                  <a:gd name="T1" fmla="*/ 1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1 h 3"/>
                  <a:gd name="T8" fmla="*/ 0 w 7"/>
                  <a:gd name="T9" fmla="*/ 1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4" name="Freeform 241">
                <a:extLst>
                  <a:ext uri="{FF2B5EF4-FFF2-40B4-BE49-F238E27FC236}">
                    <a16:creationId xmlns:a16="http://schemas.microsoft.com/office/drawing/2014/main" id="{46BB9D7F-40E3-453D-95BA-D359833221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869" y="1038224"/>
                <a:ext cx="47625" cy="20638"/>
              </a:xfrm>
              <a:custGeom>
                <a:avLst/>
                <a:gdLst>
                  <a:gd name="T0" fmla="*/ 7 w 7"/>
                  <a:gd name="T1" fmla="*/ 2 h 3"/>
                  <a:gd name="T2" fmla="*/ 5 w 7"/>
                  <a:gd name="T3" fmla="*/ 3 h 3"/>
                  <a:gd name="T4" fmla="*/ 2 w 7"/>
                  <a:gd name="T5" fmla="*/ 3 h 3"/>
                  <a:gd name="T6" fmla="*/ 0 w 7"/>
                  <a:gd name="T7" fmla="*/ 2 h 3"/>
                  <a:gd name="T8" fmla="*/ 0 w 7"/>
                  <a:gd name="T9" fmla="*/ 2 h 3"/>
                  <a:gd name="T10" fmla="*/ 2 w 7"/>
                  <a:gd name="T11" fmla="*/ 0 h 3"/>
                  <a:gd name="T12" fmla="*/ 5 w 7"/>
                  <a:gd name="T13" fmla="*/ 0 h 3"/>
                  <a:gd name="T14" fmla="*/ 7 w 7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2"/>
                    </a:moveTo>
                    <a:cubicBezTo>
                      <a:pt x="7" y="3"/>
                      <a:pt x="6" y="3"/>
                      <a:pt x="5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5" name="Freeform 242">
                <a:extLst>
                  <a:ext uri="{FF2B5EF4-FFF2-40B4-BE49-F238E27FC236}">
                    <a16:creationId xmlns:a16="http://schemas.microsoft.com/office/drawing/2014/main" id="{91A71E57-8E48-4813-87BC-CC36B5C6F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928686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6" name="Freeform 243">
                <a:extLst>
                  <a:ext uri="{FF2B5EF4-FFF2-40B4-BE49-F238E27FC236}">
                    <a16:creationId xmlns:a16="http://schemas.microsoft.com/office/drawing/2014/main" id="{8EE77FF4-95D6-4D9A-85AD-98D10A48A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949324"/>
                <a:ext cx="41275" cy="19050"/>
              </a:xfrm>
              <a:custGeom>
                <a:avLst/>
                <a:gdLst>
                  <a:gd name="T0" fmla="*/ 6 w 6"/>
                  <a:gd name="T1" fmla="*/ 2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7" name="Freeform 244">
                <a:extLst>
                  <a:ext uri="{FF2B5EF4-FFF2-40B4-BE49-F238E27FC236}">
                    <a16:creationId xmlns:a16="http://schemas.microsoft.com/office/drawing/2014/main" id="{79D51FC2-73B0-4647-8488-191EEAC2A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968374"/>
                <a:ext cx="41275" cy="28575"/>
              </a:xfrm>
              <a:custGeom>
                <a:avLst/>
                <a:gdLst>
                  <a:gd name="T0" fmla="*/ 6 w 6"/>
                  <a:gd name="T1" fmla="*/ 2 h 4"/>
                  <a:gd name="T2" fmla="*/ 4 w 6"/>
                  <a:gd name="T3" fmla="*/ 4 h 4"/>
                  <a:gd name="T4" fmla="*/ 1 w 6"/>
                  <a:gd name="T5" fmla="*/ 4 h 4"/>
                  <a:gd name="T6" fmla="*/ 0 w 6"/>
                  <a:gd name="T7" fmla="*/ 2 h 4"/>
                  <a:gd name="T8" fmla="*/ 0 w 6"/>
                  <a:gd name="T9" fmla="*/ 2 h 4"/>
                  <a:gd name="T10" fmla="*/ 1 w 6"/>
                  <a:gd name="T11" fmla="*/ 0 h 4"/>
                  <a:gd name="T12" fmla="*/ 4 w 6"/>
                  <a:gd name="T13" fmla="*/ 0 h 4"/>
                  <a:gd name="T14" fmla="*/ 6 w 6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cubicBezTo>
                      <a:pt x="6" y="3"/>
                      <a:pt x="5" y="4"/>
                      <a:pt x="4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8" name="Freeform 245">
                <a:extLst>
                  <a:ext uri="{FF2B5EF4-FFF2-40B4-BE49-F238E27FC236}">
                    <a16:creationId xmlns:a16="http://schemas.microsoft.com/office/drawing/2014/main" id="{82528D4E-B810-4718-9004-A62D463FA8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996949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9" name="Freeform 246">
                <a:extLst>
                  <a:ext uri="{FF2B5EF4-FFF2-40B4-BE49-F238E27FC236}">
                    <a16:creationId xmlns:a16="http://schemas.microsoft.com/office/drawing/2014/main" id="{4AD13F30-5E87-425A-AFAF-83C655DB4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1017586"/>
                <a:ext cx="41275" cy="20638"/>
              </a:xfrm>
              <a:custGeom>
                <a:avLst/>
                <a:gdLst>
                  <a:gd name="T0" fmla="*/ 6 w 6"/>
                  <a:gd name="T1" fmla="*/ 1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1 h 3"/>
                  <a:gd name="T8" fmla="*/ 0 w 6"/>
                  <a:gd name="T9" fmla="*/ 1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0" name="Freeform 247">
                <a:extLst>
                  <a:ext uri="{FF2B5EF4-FFF2-40B4-BE49-F238E27FC236}">
                    <a16:creationId xmlns:a16="http://schemas.microsoft.com/office/drawing/2014/main" id="{A07655F0-F24B-4B50-B4B4-92ECEEE3C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606" y="1038224"/>
                <a:ext cx="41275" cy="20638"/>
              </a:xfrm>
              <a:custGeom>
                <a:avLst/>
                <a:gdLst>
                  <a:gd name="T0" fmla="*/ 6 w 6"/>
                  <a:gd name="T1" fmla="*/ 2 h 3"/>
                  <a:gd name="T2" fmla="*/ 4 w 6"/>
                  <a:gd name="T3" fmla="*/ 3 h 3"/>
                  <a:gd name="T4" fmla="*/ 1 w 6"/>
                  <a:gd name="T5" fmla="*/ 3 h 3"/>
                  <a:gd name="T6" fmla="*/ 0 w 6"/>
                  <a:gd name="T7" fmla="*/ 2 h 3"/>
                  <a:gd name="T8" fmla="*/ 0 w 6"/>
                  <a:gd name="T9" fmla="*/ 2 h 3"/>
                  <a:gd name="T10" fmla="*/ 1 w 6"/>
                  <a:gd name="T11" fmla="*/ 0 h 3"/>
                  <a:gd name="T12" fmla="*/ 4 w 6"/>
                  <a:gd name="T13" fmla="*/ 0 h 3"/>
                  <a:gd name="T14" fmla="*/ 6 w 6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cubicBezTo>
                      <a:pt x="6" y="3"/>
                      <a:pt x="5" y="3"/>
                      <a:pt x="4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1" name="Freeform 514">
                <a:extLst>
                  <a:ext uri="{FF2B5EF4-FFF2-40B4-BE49-F238E27FC236}">
                    <a16:creationId xmlns:a16="http://schemas.microsoft.com/office/drawing/2014/main" id="{1D5BB55E-FC4D-4CD4-BB1F-A41B0AFD9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9923" y="1058861"/>
                <a:ext cx="1829895" cy="210983"/>
              </a:xfrm>
              <a:custGeom>
                <a:avLst/>
                <a:gdLst>
                  <a:gd name="T0" fmla="*/ 26 w 143"/>
                  <a:gd name="T1" fmla="*/ 97 h 103"/>
                  <a:gd name="T2" fmla="*/ 0 w 143"/>
                  <a:gd name="T3" fmla="*/ 95 h 103"/>
                  <a:gd name="T4" fmla="*/ 0 w 143"/>
                  <a:gd name="T5" fmla="*/ 92 h 103"/>
                  <a:gd name="T6" fmla="*/ 109 w 143"/>
                  <a:gd name="T7" fmla="*/ 69 h 103"/>
                  <a:gd name="T8" fmla="*/ 140 w 143"/>
                  <a:gd name="T9" fmla="*/ 0 h 103"/>
                  <a:gd name="T10" fmla="*/ 143 w 143"/>
                  <a:gd name="T11" fmla="*/ 0 h 103"/>
                  <a:gd name="T12" fmla="*/ 111 w 143"/>
                  <a:gd name="T13" fmla="*/ 72 h 103"/>
                  <a:gd name="T14" fmla="*/ 26 w 143"/>
                  <a:gd name="T15" fmla="*/ 9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3" h="103">
                    <a:moveTo>
                      <a:pt x="26" y="97"/>
                    </a:moveTo>
                    <a:cubicBezTo>
                      <a:pt x="11" y="97"/>
                      <a:pt x="0" y="95"/>
                      <a:pt x="0" y="95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2"/>
                      <a:pt x="69" y="103"/>
                      <a:pt x="109" y="69"/>
                    </a:cubicBezTo>
                    <a:cubicBezTo>
                      <a:pt x="129" y="54"/>
                      <a:pt x="139" y="30"/>
                      <a:pt x="140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2" y="31"/>
                      <a:pt x="131" y="55"/>
                      <a:pt x="111" y="72"/>
                    </a:cubicBezTo>
                    <a:cubicBezTo>
                      <a:pt x="86" y="93"/>
                      <a:pt x="50" y="97"/>
                      <a:pt x="26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2" name="Freeform 515">
                <a:extLst>
                  <a:ext uri="{FF2B5EF4-FFF2-40B4-BE49-F238E27FC236}">
                    <a16:creationId xmlns:a16="http://schemas.microsoft.com/office/drawing/2014/main" id="{1EBD7A72-267C-4068-9FE6-631D76BD2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3444" y="1058861"/>
                <a:ext cx="198438" cy="177800"/>
              </a:xfrm>
              <a:custGeom>
                <a:avLst/>
                <a:gdLst>
                  <a:gd name="T0" fmla="*/ 14 w 29"/>
                  <a:gd name="T1" fmla="*/ 26 h 26"/>
                  <a:gd name="T2" fmla="*/ 7 w 29"/>
                  <a:gd name="T3" fmla="*/ 23 h 26"/>
                  <a:gd name="T4" fmla="*/ 1 w 29"/>
                  <a:gd name="T5" fmla="*/ 0 h 26"/>
                  <a:gd name="T6" fmla="*/ 4 w 29"/>
                  <a:gd name="T7" fmla="*/ 0 h 26"/>
                  <a:gd name="T8" fmla="*/ 9 w 29"/>
                  <a:gd name="T9" fmla="*/ 21 h 26"/>
                  <a:gd name="T10" fmla="*/ 14 w 29"/>
                  <a:gd name="T11" fmla="*/ 23 h 26"/>
                  <a:gd name="T12" fmla="*/ 24 w 29"/>
                  <a:gd name="T13" fmla="*/ 0 h 26"/>
                  <a:gd name="T14" fmla="*/ 27 w 29"/>
                  <a:gd name="T15" fmla="*/ 0 h 26"/>
                  <a:gd name="T16" fmla="*/ 15 w 29"/>
                  <a:gd name="T17" fmla="*/ 26 h 26"/>
                  <a:gd name="T18" fmla="*/ 14 w 29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26">
                    <a:moveTo>
                      <a:pt x="14" y="26"/>
                    </a:moveTo>
                    <a:cubicBezTo>
                      <a:pt x="11" y="26"/>
                      <a:pt x="9" y="25"/>
                      <a:pt x="7" y="23"/>
                    </a:cubicBezTo>
                    <a:cubicBezTo>
                      <a:pt x="0" y="17"/>
                      <a:pt x="1" y="1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6"/>
                      <a:pt x="9" y="21"/>
                    </a:cubicBezTo>
                    <a:cubicBezTo>
                      <a:pt x="11" y="22"/>
                      <a:pt x="12" y="23"/>
                      <a:pt x="14" y="23"/>
                    </a:cubicBezTo>
                    <a:cubicBezTo>
                      <a:pt x="25" y="22"/>
                      <a:pt x="24" y="1"/>
                      <a:pt x="24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1"/>
                      <a:pt x="29" y="25"/>
                      <a:pt x="15" y="26"/>
                    </a:cubicBezTo>
                    <a:cubicBezTo>
                      <a:pt x="14" y="26"/>
                      <a:pt x="14" y="26"/>
                      <a:pt x="14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3" name="Freeform 516">
                <a:extLst>
                  <a:ext uri="{FF2B5EF4-FFF2-40B4-BE49-F238E27FC236}">
                    <a16:creationId xmlns:a16="http://schemas.microsoft.com/office/drawing/2014/main" id="{FC2A5091-5957-4891-9222-39D668FB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565" y="1044576"/>
                <a:ext cx="2097488" cy="491051"/>
              </a:xfrm>
              <a:custGeom>
                <a:avLst/>
                <a:gdLst>
                  <a:gd name="T0" fmla="*/ 90 w 160"/>
                  <a:gd name="T1" fmla="*/ 144 h 146"/>
                  <a:gd name="T2" fmla="*/ 74 w 160"/>
                  <a:gd name="T3" fmla="*/ 142 h 146"/>
                  <a:gd name="T4" fmla="*/ 0 w 160"/>
                  <a:gd name="T5" fmla="*/ 1 h 146"/>
                  <a:gd name="T6" fmla="*/ 3 w 160"/>
                  <a:gd name="T7" fmla="*/ 0 h 146"/>
                  <a:gd name="T8" fmla="*/ 75 w 160"/>
                  <a:gd name="T9" fmla="*/ 138 h 146"/>
                  <a:gd name="T10" fmla="*/ 158 w 160"/>
                  <a:gd name="T11" fmla="*/ 104 h 146"/>
                  <a:gd name="T12" fmla="*/ 160 w 160"/>
                  <a:gd name="T13" fmla="*/ 107 h 146"/>
                  <a:gd name="T14" fmla="*/ 90 w 160"/>
                  <a:gd name="T15" fmla="*/ 14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" h="146">
                    <a:moveTo>
                      <a:pt x="90" y="144"/>
                    </a:moveTo>
                    <a:cubicBezTo>
                      <a:pt x="85" y="144"/>
                      <a:pt x="79" y="143"/>
                      <a:pt x="74" y="142"/>
                    </a:cubicBezTo>
                    <a:cubicBezTo>
                      <a:pt x="17" y="122"/>
                      <a:pt x="1" y="6"/>
                      <a:pt x="0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20" y="120"/>
                      <a:pt x="75" y="138"/>
                    </a:cubicBezTo>
                    <a:cubicBezTo>
                      <a:pt x="99" y="146"/>
                      <a:pt x="127" y="135"/>
                      <a:pt x="158" y="104"/>
                    </a:cubicBezTo>
                    <a:cubicBezTo>
                      <a:pt x="160" y="107"/>
                      <a:pt x="160" y="107"/>
                      <a:pt x="160" y="107"/>
                    </a:cubicBezTo>
                    <a:cubicBezTo>
                      <a:pt x="134" y="132"/>
                      <a:pt x="111" y="144"/>
                      <a:pt x="90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77B2DD9B-666E-4ACD-83CA-2F191D11BE42}"/>
                </a:ext>
              </a:extLst>
            </p:cNvPr>
            <p:cNvGrpSpPr/>
            <p:nvPr/>
          </p:nvGrpSpPr>
          <p:grpSpPr bwMode="auto">
            <a:xfrm>
              <a:off x="7139179" y="3919149"/>
              <a:ext cx="1241807" cy="1122987"/>
              <a:chOff x="2913444" y="1870380"/>
              <a:chExt cx="2622700" cy="2877831"/>
            </a:xfrm>
            <a:solidFill>
              <a:schemeClr val="tx2"/>
            </a:solidFill>
          </p:grpSpPr>
          <p:sp>
            <p:nvSpPr>
              <p:cNvPr id="73" name="Rectangle 276">
                <a:extLst>
                  <a:ext uri="{FF2B5EF4-FFF2-40B4-BE49-F238E27FC236}">
                    <a16:creationId xmlns:a16="http://schemas.microsoft.com/office/drawing/2014/main" id="{D3F03CAA-5916-4054-BDA0-F4F0867539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05556" y="3160711"/>
                <a:ext cx="88900" cy="15875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" name="Rectangle 277">
                <a:extLst>
                  <a:ext uri="{FF2B5EF4-FFF2-40B4-BE49-F238E27FC236}">
                    <a16:creationId xmlns:a16="http://schemas.microsoft.com/office/drawing/2014/main" id="{C6D2D7F5-2E11-4CC0-964C-10D845789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4081" y="3387724"/>
                <a:ext cx="865188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5" name="Rectangle 278">
                <a:extLst>
                  <a:ext uri="{FF2B5EF4-FFF2-40B4-BE49-F238E27FC236}">
                    <a16:creationId xmlns:a16="http://schemas.microsoft.com/office/drawing/2014/main" id="{EFBBC84E-A8EA-443F-834A-8AD6697AEA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3294" y="3338511"/>
                <a:ext cx="74613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" name="Rectangle 279">
                <a:extLst>
                  <a:ext uri="{FF2B5EF4-FFF2-40B4-BE49-F238E27FC236}">
                    <a16:creationId xmlns:a16="http://schemas.microsoft.com/office/drawing/2014/main" id="{3DFEA88F-18A4-4E24-B1B8-83F8C55955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444" y="3338511"/>
                <a:ext cx="82550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" name="Rectangle 280">
                <a:extLst>
                  <a:ext uri="{FF2B5EF4-FFF2-40B4-BE49-F238E27FC236}">
                    <a16:creationId xmlns:a16="http://schemas.microsoft.com/office/drawing/2014/main" id="{93043705-5852-4D6C-A952-AE85A0314C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3444" y="3716336"/>
                <a:ext cx="871538" cy="825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" name="Rectangle 281">
                <a:extLst>
                  <a:ext uri="{FF2B5EF4-FFF2-40B4-BE49-F238E27FC236}">
                    <a16:creationId xmlns:a16="http://schemas.microsoft.com/office/drawing/2014/main" id="{C3367536-A4F4-4193-8BA0-06ADD011D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2656" y="3668711"/>
                <a:ext cx="82550" cy="476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" name="Rectangle 282">
                <a:extLst>
                  <a:ext uri="{FF2B5EF4-FFF2-40B4-BE49-F238E27FC236}">
                    <a16:creationId xmlns:a16="http://schemas.microsoft.com/office/drawing/2014/main" id="{05D85276-9F99-4497-8D36-93C8911D82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1156" y="3668711"/>
                <a:ext cx="76200" cy="476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" name="Rectangle 283">
                <a:extLst>
                  <a:ext uri="{FF2B5EF4-FFF2-40B4-BE49-F238E27FC236}">
                    <a16:creationId xmlns:a16="http://schemas.microsoft.com/office/drawing/2014/main" id="{402D0A19-532C-409E-BA78-3E91AAB16D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37444" y="3160711"/>
                <a:ext cx="95250" cy="15875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" name="Rectangle 284">
                <a:extLst>
                  <a:ext uri="{FF2B5EF4-FFF2-40B4-BE49-F238E27FC236}">
                    <a16:creationId xmlns:a16="http://schemas.microsoft.com/office/drawing/2014/main" id="{2CF423C4-AC69-496A-B23E-CE958724E6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5969" y="3387724"/>
                <a:ext cx="871538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2" name="Rectangle 285">
                <a:extLst>
                  <a:ext uri="{FF2B5EF4-FFF2-40B4-BE49-F238E27FC236}">
                    <a16:creationId xmlns:a16="http://schemas.microsoft.com/office/drawing/2014/main" id="{D88BD1F0-38EA-48E3-85D3-5268706E6A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15181" y="3338511"/>
                <a:ext cx="80963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3" name="Rectangle 286">
                <a:extLst>
                  <a:ext uri="{FF2B5EF4-FFF2-40B4-BE49-F238E27FC236}">
                    <a16:creationId xmlns:a16="http://schemas.microsoft.com/office/drawing/2014/main" id="{6075AB51-8578-4D49-956E-5FA100A83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3681" y="3338511"/>
                <a:ext cx="76200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4" name="Rectangle 287">
                <a:extLst>
                  <a:ext uri="{FF2B5EF4-FFF2-40B4-BE49-F238E27FC236}">
                    <a16:creationId xmlns:a16="http://schemas.microsoft.com/office/drawing/2014/main" id="{D4620598-E568-43B1-A911-CA66F44E9E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3269" y="3716336"/>
                <a:ext cx="869950" cy="825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5" name="Rectangle 288">
                <a:extLst>
                  <a:ext uri="{FF2B5EF4-FFF2-40B4-BE49-F238E27FC236}">
                    <a16:creationId xmlns:a16="http://schemas.microsoft.com/office/drawing/2014/main" id="{2637AD75-7B80-44AB-B259-498C5DB22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0894" y="3668711"/>
                <a:ext cx="74613" cy="476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6" name="Rectangle 289">
                <a:extLst>
                  <a:ext uri="{FF2B5EF4-FFF2-40B4-BE49-F238E27FC236}">
                    <a16:creationId xmlns:a16="http://schemas.microsoft.com/office/drawing/2014/main" id="{5F2FD3B4-44F7-4CA6-83FF-5DD859A39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3044" y="3668711"/>
                <a:ext cx="82550" cy="476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7" name="Freeform 517">
                <a:extLst>
                  <a:ext uri="{FF2B5EF4-FFF2-40B4-BE49-F238E27FC236}">
                    <a16:creationId xmlns:a16="http://schemas.microsoft.com/office/drawing/2014/main" id="{CC08E120-B7F4-49D7-98A9-052725E1A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941" y="1870380"/>
                <a:ext cx="654203" cy="1550682"/>
              </a:xfrm>
              <a:custGeom>
                <a:avLst/>
                <a:gdLst>
                  <a:gd name="T0" fmla="*/ 16 w 46"/>
                  <a:gd name="T1" fmla="*/ 112 h 112"/>
                  <a:gd name="T2" fmla="*/ 0 w 46"/>
                  <a:gd name="T3" fmla="*/ 103 h 112"/>
                  <a:gd name="T4" fmla="*/ 1 w 46"/>
                  <a:gd name="T5" fmla="*/ 100 h 112"/>
                  <a:gd name="T6" fmla="*/ 18 w 46"/>
                  <a:gd name="T7" fmla="*/ 109 h 112"/>
                  <a:gd name="T8" fmla="*/ 43 w 46"/>
                  <a:gd name="T9" fmla="*/ 0 h 112"/>
                  <a:gd name="T10" fmla="*/ 46 w 46"/>
                  <a:gd name="T11" fmla="*/ 0 h 112"/>
                  <a:gd name="T12" fmla="*/ 19 w 46"/>
                  <a:gd name="T13" fmla="*/ 112 h 112"/>
                  <a:gd name="T14" fmla="*/ 16 w 46"/>
                  <a:gd name="T15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112">
                    <a:moveTo>
                      <a:pt x="16" y="112"/>
                    </a:moveTo>
                    <a:cubicBezTo>
                      <a:pt x="11" y="112"/>
                      <a:pt x="6" y="110"/>
                      <a:pt x="0" y="103"/>
                    </a:cubicBezTo>
                    <a:cubicBezTo>
                      <a:pt x="1" y="100"/>
                      <a:pt x="1" y="100"/>
                      <a:pt x="1" y="100"/>
                    </a:cubicBezTo>
                    <a:cubicBezTo>
                      <a:pt x="7" y="108"/>
                      <a:pt x="14" y="110"/>
                      <a:pt x="18" y="109"/>
                    </a:cubicBezTo>
                    <a:cubicBezTo>
                      <a:pt x="36" y="103"/>
                      <a:pt x="42" y="28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4"/>
                      <a:pt x="43" y="105"/>
                      <a:pt x="19" y="112"/>
                    </a:cubicBezTo>
                    <a:cubicBezTo>
                      <a:pt x="18" y="112"/>
                      <a:pt x="17" y="112"/>
                      <a:pt x="16" y="112"/>
                    </a:cubicBezTo>
                    <a:close/>
                  </a:path>
                </a:pathLst>
              </a:custGeom>
              <a:grpFill/>
              <a:ln w="317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8" name="Freeform 518">
                <a:extLst>
                  <a:ext uri="{FF2B5EF4-FFF2-40B4-BE49-F238E27FC236}">
                    <a16:creationId xmlns:a16="http://schemas.microsoft.com/office/drawing/2014/main" id="{18B76000-D145-4D38-BD75-4A7491C22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1331" y="3387724"/>
                <a:ext cx="295275" cy="123825"/>
              </a:xfrm>
              <a:custGeom>
                <a:avLst/>
                <a:gdLst>
                  <a:gd name="T0" fmla="*/ 20 w 43"/>
                  <a:gd name="T1" fmla="*/ 18 h 18"/>
                  <a:gd name="T2" fmla="*/ 19 w 43"/>
                  <a:gd name="T3" fmla="*/ 18 h 18"/>
                  <a:gd name="T4" fmla="*/ 0 w 43"/>
                  <a:gd name="T5" fmla="*/ 3 h 18"/>
                  <a:gd name="T6" fmla="*/ 2 w 43"/>
                  <a:gd name="T7" fmla="*/ 0 h 18"/>
                  <a:gd name="T8" fmla="*/ 19 w 43"/>
                  <a:gd name="T9" fmla="*/ 15 h 18"/>
                  <a:gd name="T10" fmla="*/ 20 w 43"/>
                  <a:gd name="T11" fmla="*/ 15 h 18"/>
                  <a:gd name="T12" fmla="*/ 40 w 43"/>
                  <a:gd name="T13" fmla="*/ 0 h 18"/>
                  <a:gd name="T14" fmla="*/ 43 w 43"/>
                  <a:gd name="T15" fmla="*/ 2 h 18"/>
                  <a:gd name="T16" fmla="*/ 20 w 43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18">
                    <a:moveTo>
                      <a:pt x="20" y="18"/>
                    </a:moveTo>
                    <a:cubicBezTo>
                      <a:pt x="19" y="18"/>
                      <a:pt x="19" y="18"/>
                      <a:pt x="19" y="18"/>
                    </a:cubicBezTo>
                    <a:cubicBezTo>
                      <a:pt x="12" y="18"/>
                      <a:pt x="5" y="14"/>
                      <a:pt x="0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7" y="10"/>
                      <a:pt x="13" y="14"/>
                      <a:pt x="19" y="15"/>
                    </a:cubicBezTo>
                    <a:cubicBezTo>
                      <a:pt x="19" y="15"/>
                      <a:pt x="19" y="15"/>
                      <a:pt x="20" y="15"/>
                    </a:cubicBezTo>
                    <a:cubicBezTo>
                      <a:pt x="30" y="15"/>
                      <a:pt x="40" y="0"/>
                      <a:pt x="40" y="0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2" y="3"/>
                      <a:pt x="32" y="18"/>
                      <a:pt x="2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3" name="组合 506">
              <a:extLst>
                <a:ext uri="{FF2B5EF4-FFF2-40B4-BE49-F238E27FC236}">
                  <a16:creationId xmlns:a16="http://schemas.microsoft.com/office/drawing/2014/main" id="{F1584A68-B027-422C-85B7-CD1D9D1D272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17207" y="4969941"/>
              <a:ext cx="971446" cy="658813"/>
              <a:chOff x="4167889" y="4703583"/>
              <a:chExt cx="690121" cy="479958"/>
            </a:xfrm>
          </p:grpSpPr>
          <p:sp>
            <p:nvSpPr>
              <p:cNvPr id="45" name="Rectangle 248">
                <a:extLst>
                  <a:ext uri="{FF2B5EF4-FFF2-40B4-BE49-F238E27FC236}">
                    <a16:creationId xmlns:a16="http://schemas.microsoft.com/office/drawing/2014/main" id="{AE07D88E-FD9A-4D14-91E1-FE368B7BC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7129" y="5014312"/>
                <a:ext cx="500881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Rectangle 249">
                <a:extLst>
                  <a:ext uri="{FF2B5EF4-FFF2-40B4-BE49-F238E27FC236}">
                    <a16:creationId xmlns:a16="http://schemas.microsoft.com/office/drawing/2014/main" id="{FFCF1035-AFB9-41E2-95E9-5D0900AA5B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4320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7" name="Rectangle 250">
                <a:extLst>
                  <a:ext uri="{FF2B5EF4-FFF2-40B4-BE49-F238E27FC236}">
                    <a16:creationId xmlns:a16="http://schemas.microsoft.com/office/drawing/2014/main" id="{DBDC2017-7E63-4886-94C4-E1ACBBD95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5106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8" name="Rectangle 251">
                <a:extLst>
                  <a:ext uri="{FF2B5EF4-FFF2-40B4-BE49-F238E27FC236}">
                    <a16:creationId xmlns:a16="http://schemas.microsoft.com/office/drawing/2014/main" id="{14BCF5FB-7DC8-4E86-950E-CC33F03D3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5176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9" name="Rectangle 252">
                <a:extLst>
                  <a:ext uri="{FF2B5EF4-FFF2-40B4-BE49-F238E27FC236}">
                    <a16:creationId xmlns:a16="http://schemas.microsoft.com/office/drawing/2014/main" id="{EB7AC0A6-F875-4EC2-B93E-1A7ED508CC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2385" y="5014312"/>
                <a:ext cx="12164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0" name="Rectangle 253">
                <a:extLst>
                  <a:ext uri="{FF2B5EF4-FFF2-40B4-BE49-F238E27FC236}">
                    <a16:creationId xmlns:a16="http://schemas.microsoft.com/office/drawing/2014/main" id="{274F8851-F67A-4274-B679-E10E65DE15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2455" y="5014312"/>
                <a:ext cx="12164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Rectangle 254">
                <a:extLst>
                  <a:ext uri="{FF2B5EF4-FFF2-40B4-BE49-F238E27FC236}">
                    <a16:creationId xmlns:a16="http://schemas.microsoft.com/office/drawing/2014/main" id="{99A5D53A-53D8-490B-91B0-218EF542EA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82526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Rectangle 255">
                <a:extLst>
                  <a:ext uri="{FF2B5EF4-FFF2-40B4-BE49-F238E27FC236}">
                    <a16:creationId xmlns:a16="http://schemas.microsoft.com/office/drawing/2014/main" id="{3B46E1EE-927A-4842-9EC2-08681C659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2596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3" name="Rectangle 256">
                <a:extLst>
                  <a:ext uri="{FF2B5EF4-FFF2-40B4-BE49-F238E27FC236}">
                    <a16:creationId xmlns:a16="http://schemas.microsoft.com/office/drawing/2014/main" id="{258F3B71-3012-46E8-8BC2-77164CBD5D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2666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" name="Rectangle 257">
                <a:extLst>
                  <a:ext uri="{FF2B5EF4-FFF2-40B4-BE49-F238E27FC236}">
                    <a16:creationId xmlns:a16="http://schemas.microsoft.com/office/drawing/2014/main" id="{B2F34F36-B531-482B-A548-53D723DE0A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2737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Rectangle 258">
                <a:extLst>
                  <a:ext uri="{FF2B5EF4-FFF2-40B4-BE49-F238E27FC236}">
                    <a16:creationId xmlns:a16="http://schemas.microsoft.com/office/drawing/2014/main" id="{34AE68C8-207D-4DC5-9B70-470971B032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3523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6" name="Rectangle 259">
                <a:extLst>
                  <a:ext uri="{FF2B5EF4-FFF2-40B4-BE49-F238E27FC236}">
                    <a16:creationId xmlns:a16="http://schemas.microsoft.com/office/drawing/2014/main" id="{E0F217EC-6F42-481C-BDB2-DF6EE04166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83593" y="5014312"/>
                <a:ext cx="9302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7" name="Rectangle 260">
                <a:extLst>
                  <a:ext uri="{FF2B5EF4-FFF2-40B4-BE49-F238E27FC236}">
                    <a16:creationId xmlns:a16="http://schemas.microsoft.com/office/drawing/2014/main" id="{320E6927-4076-4E3E-9453-9D8388F4A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0801" y="5014312"/>
                <a:ext cx="12164" cy="16831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Verdana" panose="020B060403050404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Freeform 261">
                <a:extLst>
                  <a:ext uri="{FF2B5EF4-FFF2-40B4-BE49-F238E27FC236}">
                    <a16:creationId xmlns:a16="http://schemas.microsoft.com/office/drawing/2014/main" id="{B8D7F804-A560-49B6-9ACE-985B320FF3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98" y="4994834"/>
                <a:ext cx="77279" cy="12985"/>
              </a:xfrm>
              <a:custGeom>
                <a:avLst/>
                <a:gdLst>
                  <a:gd name="T0" fmla="*/ 2147483646 w 25"/>
                  <a:gd name="T1" fmla="*/ 2147483646 h 6"/>
                  <a:gd name="T2" fmla="*/ 2147483646 w 25"/>
                  <a:gd name="T3" fmla="*/ 2147483646 h 6"/>
                  <a:gd name="T4" fmla="*/ 2147483646 w 25"/>
                  <a:gd name="T5" fmla="*/ 2147483646 h 6"/>
                  <a:gd name="T6" fmla="*/ 0 w 25"/>
                  <a:gd name="T7" fmla="*/ 2147483646 h 6"/>
                  <a:gd name="T8" fmla="*/ 0 w 25"/>
                  <a:gd name="T9" fmla="*/ 2147483646 h 6"/>
                  <a:gd name="T10" fmla="*/ 2147483646 w 25"/>
                  <a:gd name="T11" fmla="*/ 0 h 6"/>
                  <a:gd name="T12" fmla="*/ 2147483646 w 25"/>
                  <a:gd name="T13" fmla="*/ 0 h 6"/>
                  <a:gd name="T14" fmla="*/ 2147483646 w 25"/>
                  <a:gd name="T15" fmla="*/ 214748364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6">
                    <a:moveTo>
                      <a:pt x="25" y="3"/>
                    </a:moveTo>
                    <a:cubicBezTo>
                      <a:pt x="25" y="4"/>
                      <a:pt x="23" y="6"/>
                      <a:pt x="2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5" y="1"/>
                      <a:pt x="25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" name="Freeform 262">
                <a:extLst>
                  <a:ext uri="{FF2B5EF4-FFF2-40B4-BE49-F238E27FC236}">
                    <a16:creationId xmlns:a16="http://schemas.microsoft.com/office/drawing/2014/main" id="{51867B1E-FA96-456B-B965-CFAEDB0AC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98" y="4977354"/>
                <a:ext cx="77279" cy="12985"/>
              </a:xfrm>
              <a:custGeom>
                <a:avLst/>
                <a:gdLst>
                  <a:gd name="T0" fmla="*/ 2147483646 w 25"/>
                  <a:gd name="T1" fmla="*/ 2147483646 h 6"/>
                  <a:gd name="T2" fmla="*/ 2147483646 w 25"/>
                  <a:gd name="T3" fmla="*/ 2147483646 h 6"/>
                  <a:gd name="T4" fmla="*/ 2147483646 w 25"/>
                  <a:gd name="T5" fmla="*/ 2147483646 h 6"/>
                  <a:gd name="T6" fmla="*/ 0 w 25"/>
                  <a:gd name="T7" fmla="*/ 2147483646 h 6"/>
                  <a:gd name="T8" fmla="*/ 0 w 25"/>
                  <a:gd name="T9" fmla="*/ 2147483646 h 6"/>
                  <a:gd name="T10" fmla="*/ 2147483646 w 25"/>
                  <a:gd name="T11" fmla="*/ 0 h 6"/>
                  <a:gd name="T12" fmla="*/ 2147483646 w 25"/>
                  <a:gd name="T13" fmla="*/ 0 h 6"/>
                  <a:gd name="T14" fmla="*/ 2147483646 w 25"/>
                  <a:gd name="T15" fmla="*/ 214748364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6">
                    <a:moveTo>
                      <a:pt x="25" y="3"/>
                    </a:moveTo>
                    <a:cubicBezTo>
                      <a:pt x="25" y="4"/>
                      <a:pt x="23" y="6"/>
                      <a:pt x="2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5" y="1"/>
                      <a:pt x="25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" name="Freeform 263">
                <a:extLst>
                  <a:ext uri="{FF2B5EF4-FFF2-40B4-BE49-F238E27FC236}">
                    <a16:creationId xmlns:a16="http://schemas.microsoft.com/office/drawing/2014/main" id="{6DFE2D49-BA6D-4550-83D5-B92FFB049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98" y="4960373"/>
                <a:ext cx="77279" cy="12486"/>
              </a:xfrm>
              <a:custGeom>
                <a:avLst/>
                <a:gdLst>
                  <a:gd name="T0" fmla="*/ 2147483646 w 25"/>
                  <a:gd name="T1" fmla="*/ 2147483646 h 6"/>
                  <a:gd name="T2" fmla="*/ 2147483646 w 25"/>
                  <a:gd name="T3" fmla="*/ 2147483646 h 6"/>
                  <a:gd name="T4" fmla="*/ 2147483646 w 25"/>
                  <a:gd name="T5" fmla="*/ 2147483646 h 6"/>
                  <a:gd name="T6" fmla="*/ 0 w 25"/>
                  <a:gd name="T7" fmla="*/ 2147483646 h 6"/>
                  <a:gd name="T8" fmla="*/ 0 w 25"/>
                  <a:gd name="T9" fmla="*/ 2147483646 h 6"/>
                  <a:gd name="T10" fmla="*/ 2147483646 w 25"/>
                  <a:gd name="T11" fmla="*/ 0 h 6"/>
                  <a:gd name="T12" fmla="*/ 2147483646 w 25"/>
                  <a:gd name="T13" fmla="*/ 0 h 6"/>
                  <a:gd name="T14" fmla="*/ 2147483646 w 25"/>
                  <a:gd name="T15" fmla="*/ 214748364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6">
                    <a:moveTo>
                      <a:pt x="25" y="3"/>
                    </a:moveTo>
                    <a:cubicBezTo>
                      <a:pt x="25" y="4"/>
                      <a:pt x="23" y="6"/>
                      <a:pt x="2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5" y="2"/>
                      <a:pt x="25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1" name="Freeform 264">
                <a:extLst>
                  <a:ext uri="{FF2B5EF4-FFF2-40B4-BE49-F238E27FC236}">
                    <a16:creationId xmlns:a16="http://schemas.microsoft.com/office/drawing/2014/main" id="{5AB60E98-5C16-4ACA-860E-D47E1C55C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98" y="4942893"/>
                <a:ext cx="77279" cy="12985"/>
              </a:xfrm>
              <a:custGeom>
                <a:avLst/>
                <a:gdLst>
                  <a:gd name="T0" fmla="*/ 2147483646 w 25"/>
                  <a:gd name="T1" fmla="*/ 2147483646 h 6"/>
                  <a:gd name="T2" fmla="*/ 2147483646 w 25"/>
                  <a:gd name="T3" fmla="*/ 2147483646 h 6"/>
                  <a:gd name="T4" fmla="*/ 2147483646 w 25"/>
                  <a:gd name="T5" fmla="*/ 2147483646 h 6"/>
                  <a:gd name="T6" fmla="*/ 0 w 25"/>
                  <a:gd name="T7" fmla="*/ 2147483646 h 6"/>
                  <a:gd name="T8" fmla="*/ 0 w 25"/>
                  <a:gd name="T9" fmla="*/ 2147483646 h 6"/>
                  <a:gd name="T10" fmla="*/ 2147483646 w 25"/>
                  <a:gd name="T11" fmla="*/ 0 h 6"/>
                  <a:gd name="T12" fmla="*/ 2147483646 w 25"/>
                  <a:gd name="T13" fmla="*/ 0 h 6"/>
                  <a:gd name="T14" fmla="*/ 2147483646 w 25"/>
                  <a:gd name="T15" fmla="*/ 214748364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5" h="6">
                    <a:moveTo>
                      <a:pt x="25" y="3"/>
                    </a:moveTo>
                    <a:cubicBezTo>
                      <a:pt x="25" y="5"/>
                      <a:pt x="23" y="6"/>
                      <a:pt x="2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5" y="2"/>
                      <a:pt x="25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2" name="Freeform 265">
                <a:extLst>
                  <a:ext uri="{FF2B5EF4-FFF2-40B4-BE49-F238E27FC236}">
                    <a16:creationId xmlns:a16="http://schemas.microsoft.com/office/drawing/2014/main" id="{0A146D72-E015-4CA3-BE59-EF981AC09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0361" y="4992337"/>
                <a:ext cx="73701" cy="109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3" name="Freeform 266">
                <a:extLst>
                  <a:ext uri="{FF2B5EF4-FFF2-40B4-BE49-F238E27FC236}">
                    <a16:creationId xmlns:a16="http://schemas.microsoft.com/office/drawing/2014/main" id="{ECF03848-98B6-44C6-BE86-C6AB547E2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0361" y="4975356"/>
                <a:ext cx="73701" cy="104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4" name="Freeform 267">
                <a:extLst>
                  <a:ext uri="{FF2B5EF4-FFF2-40B4-BE49-F238E27FC236}">
                    <a16:creationId xmlns:a16="http://schemas.microsoft.com/office/drawing/2014/main" id="{45F3B56C-4530-4534-84EF-5A2CF8620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0361" y="4957876"/>
                <a:ext cx="73701" cy="109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5" name="Freeform 268">
                <a:extLst>
                  <a:ext uri="{FF2B5EF4-FFF2-40B4-BE49-F238E27FC236}">
                    <a16:creationId xmlns:a16="http://schemas.microsoft.com/office/drawing/2014/main" id="{3001300A-2243-4E5A-8949-0CB23A2EE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0361" y="4940895"/>
                <a:ext cx="73701" cy="104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6" name="Freeform 269">
                <a:extLst>
                  <a:ext uri="{FF2B5EF4-FFF2-40B4-BE49-F238E27FC236}">
                    <a16:creationId xmlns:a16="http://schemas.microsoft.com/office/drawing/2014/main" id="{172D9195-A8E3-4DE8-B7A1-3F83F08AD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687" y="4992337"/>
                <a:ext cx="74417" cy="109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7" name="Freeform 270">
                <a:extLst>
                  <a:ext uri="{FF2B5EF4-FFF2-40B4-BE49-F238E27FC236}">
                    <a16:creationId xmlns:a16="http://schemas.microsoft.com/office/drawing/2014/main" id="{91107950-2A97-413A-9EBB-976F6DD47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687" y="4975356"/>
                <a:ext cx="74417" cy="104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8" name="Freeform 271">
                <a:extLst>
                  <a:ext uri="{FF2B5EF4-FFF2-40B4-BE49-F238E27FC236}">
                    <a16:creationId xmlns:a16="http://schemas.microsoft.com/office/drawing/2014/main" id="{25961011-00B8-42D1-BED2-B66A5AC3E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687" y="4957876"/>
                <a:ext cx="74417" cy="109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Freeform 272">
                <a:extLst>
                  <a:ext uri="{FF2B5EF4-FFF2-40B4-BE49-F238E27FC236}">
                    <a16:creationId xmlns:a16="http://schemas.microsoft.com/office/drawing/2014/main" id="{F5C5EC10-2C93-412A-9ECB-EBB862A98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687" y="4940895"/>
                <a:ext cx="74417" cy="10488"/>
              </a:xfrm>
              <a:custGeom>
                <a:avLst/>
                <a:gdLst>
                  <a:gd name="T0" fmla="*/ 2147483646 w 24"/>
                  <a:gd name="T1" fmla="*/ 2147483646 h 5"/>
                  <a:gd name="T2" fmla="*/ 2147483646 w 24"/>
                  <a:gd name="T3" fmla="*/ 2147483646 h 5"/>
                  <a:gd name="T4" fmla="*/ 2147483646 w 24"/>
                  <a:gd name="T5" fmla="*/ 2147483646 h 5"/>
                  <a:gd name="T6" fmla="*/ 0 w 24"/>
                  <a:gd name="T7" fmla="*/ 2147483646 h 5"/>
                  <a:gd name="T8" fmla="*/ 0 w 24"/>
                  <a:gd name="T9" fmla="*/ 2147483646 h 5"/>
                  <a:gd name="T10" fmla="*/ 2147483646 w 24"/>
                  <a:gd name="T11" fmla="*/ 0 h 5"/>
                  <a:gd name="T12" fmla="*/ 2147483646 w 24"/>
                  <a:gd name="T13" fmla="*/ 0 h 5"/>
                  <a:gd name="T14" fmla="*/ 2147483646 w 24"/>
                  <a:gd name="T15" fmla="*/ 214748364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5">
                    <a:moveTo>
                      <a:pt x="24" y="3"/>
                    </a:moveTo>
                    <a:cubicBezTo>
                      <a:pt x="24" y="4"/>
                      <a:pt x="23" y="5"/>
                      <a:pt x="2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0" name="Freeform 273">
                <a:extLst>
                  <a:ext uri="{FF2B5EF4-FFF2-40B4-BE49-F238E27FC236}">
                    <a16:creationId xmlns:a16="http://schemas.microsoft.com/office/drawing/2014/main" id="{A67458C2-A1E6-4599-BBFD-889F64FC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889" y="4703583"/>
                <a:ext cx="145256" cy="479958"/>
              </a:xfrm>
              <a:custGeom>
                <a:avLst/>
                <a:gdLst>
                  <a:gd name="T0" fmla="*/ 2147483646 w 203"/>
                  <a:gd name="T1" fmla="*/ 2147483646 h 961"/>
                  <a:gd name="T2" fmla="*/ 2147483646 w 203"/>
                  <a:gd name="T3" fmla="*/ 2147483646 h 961"/>
                  <a:gd name="T4" fmla="*/ 2147483646 w 203"/>
                  <a:gd name="T5" fmla="*/ 2147483646 h 961"/>
                  <a:gd name="T6" fmla="*/ 2147483646 w 203"/>
                  <a:gd name="T7" fmla="*/ 2147483646 h 961"/>
                  <a:gd name="T8" fmla="*/ 2147483646 w 203"/>
                  <a:gd name="T9" fmla="*/ 2147483646 h 961"/>
                  <a:gd name="T10" fmla="*/ 2147483646 w 203"/>
                  <a:gd name="T11" fmla="*/ 2147483646 h 961"/>
                  <a:gd name="T12" fmla="*/ 2147483646 w 203"/>
                  <a:gd name="T13" fmla="*/ 2147483646 h 961"/>
                  <a:gd name="T14" fmla="*/ 2147483646 w 203"/>
                  <a:gd name="T15" fmla="*/ 2147483646 h 961"/>
                  <a:gd name="T16" fmla="*/ 2147483646 w 203"/>
                  <a:gd name="T17" fmla="*/ 2147483646 h 961"/>
                  <a:gd name="T18" fmla="*/ 2147483646 w 203"/>
                  <a:gd name="T19" fmla="*/ 2147483646 h 961"/>
                  <a:gd name="T20" fmla="*/ 2147483646 w 203"/>
                  <a:gd name="T21" fmla="*/ 2147483646 h 961"/>
                  <a:gd name="T22" fmla="*/ 2147483646 w 203"/>
                  <a:gd name="T23" fmla="*/ 2147483646 h 961"/>
                  <a:gd name="T24" fmla="*/ 2147483646 w 203"/>
                  <a:gd name="T25" fmla="*/ 2147483646 h 961"/>
                  <a:gd name="T26" fmla="*/ 2147483646 w 203"/>
                  <a:gd name="T27" fmla="*/ 2147483646 h 961"/>
                  <a:gd name="T28" fmla="*/ 2147483646 w 203"/>
                  <a:gd name="T29" fmla="*/ 2147483646 h 961"/>
                  <a:gd name="T30" fmla="*/ 2147483646 w 203"/>
                  <a:gd name="T31" fmla="*/ 2147483646 h 961"/>
                  <a:gd name="T32" fmla="*/ 2147483646 w 203"/>
                  <a:gd name="T33" fmla="*/ 2147483646 h 961"/>
                  <a:gd name="T34" fmla="*/ 2147483646 w 203"/>
                  <a:gd name="T35" fmla="*/ 2147483646 h 961"/>
                  <a:gd name="T36" fmla="*/ 2147483646 w 203"/>
                  <a:gd name="T37" fmla="*/ 2147483646 h 961"/>
                  <a:gd name="T38" fmla="*/ 2147483646 w 203"/>
                  <a:gd name="T39" fmla="*/ 2147483646 h 961"/>
                  <a:gd name="T40" fmla="*/ 0 w 203"/>
                  <a:gd name="T41" fmla="*/ 2147483646 h 961"/>
                  <a:gd name="T42" fmla="*/ 2147483646 w 203"/>
                  <a:gd name="T43" fmla="*/ 2147483646 h 961"/>
                  <a:gd name="T44" fmla="*/ 2147483646 w 203"/>
                  <a:gd name="T45" fmla="*/ 2147483646 h 961"/>
                  <a:gd name="T46" fmla="*/ 2147483646 w 203"/>
                  <a:gd name="T47" fmla="*/ 2147483646 h 961"/>
                  <a:gd name="T48" fmla="*/ 2147483646 w 203"/>
                  <a:gd name="T49" fmla="*/ 2147483646 h 961"/>
                  <a:gd name="T50" fmla="*/ 2147483646 w 203"/>
                  <a:gd name="T51" fmla="*/ 2147483646 h 961"/>
                  <a:gd name="T52" fmla="*/ 2147483646 w 203"/>
                  <a:gd name="T53" fmla="*/ 2147483646 h 961"/>
                  <a:gd name="T54" fmla="*/ 2147483646 w 203"/>
                  <a:gd name="T55" fmla="*/ 2147483646 h 961"/>
                  <a:gd name="T56" fmla="*/ 2147483646 w 203"/>
                  <a:gd name="T57" fmla="*/ 2147483646 h 961"/>
                  <a:gd name="T58" fmla="*/ 2147483646 w 203"/>
                  <a:gd name="T59" fmla="*/ 2147483646 h 961"/>
                  <a:gd name="T60" fmla="*/ 2147483646 w 203"/>
                  <a:gd name="T61" fmla="*/ 2147483646 h 961"/>
                  <a:gd name="T62" fmla="*/ 2147483646 w 203"/>
                  <a:gd name="T63" fmla="*/ 2147483646 h 961"/>
                  <a:gd name="T64" fmla="*/ 2147483646 w 203"/>
                  <a:gd name="T65" fmla="*/ 2147483646 h 961"/>
                  <a:gd name="T66" fmla="*/ 2147483646 w 203"/>
                  <a:gd name="T67" fmla="*/ 2147483646 h 961"/>
                  <a:gd name="T68" fmla="*/ 2147483646 w 203"/>
                  <a:gd name="T69" fmla="*/ 2147483646 h 961"/>
                  <a:gd name="T70" fmla="*/ 2147483646 w 203"/>
                  <a:gd name="T71" fmla="*/ 2147483646 h 961"/>
                  <a:gd name="T72" fmla="*/ 2147483646 w 203"/>
                  <a:gd name="T73" fmla="*/ 2147483646 h 961"/>
                  <a:gd name="T74" fmla="*/ 2147483646 w 203"/>
                  <a:gd name="T75" fmla="*/ 2147483646 h 961"/>
                  <a:gd name="T76" fmla="*/ 2147483646 w 203"/>
                  <a:gd name="T77" fmla="*/ 2147483646 h 96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03" h="961">
                    <a:moveTo>
                      <a:pt x="203" y="961"/>
                    </a:moveTo>
                    <a:lnTo>
                      <a:pt x="190" y="961"/>
                    </a:lnTo>
                    <a:lnTo>
                      <a:pt x="190" y="957"/>
                    </a:lnTo>
                    <a:lnTo>
                      <a:pt x="186" y="935"/>
                    </a:lnTo>
                    <a:lnTo>
                      <a:pt x="169" y="783"/>
                    </a:lnTo>
                    <a:lnTo>
                      <a:pt x="169" y="775"/>
                    </a:lnTo>
                    <a:lnTo>
                      <a:pt x="169" y="762"/>
                    </a:lnTo>
                    <a:lnTo>
                      <a:pt x="169" y="753"/>
                    </a:lnTo>
                    <a:lnTo>
                      <a:pt x="151" y="623"/>
                    </a:lnTo>
                    <a:lnTo>
                      <a:pt x="151" y="615"/>
                    </a:lnTo>
                    <a:lnTo>
                      <a:pt x="151" y="602"/>
                    </a:lnTo>
                    <a:lnTo>
                      <a:pt x="147" y="589"/>
                    </a:lnTo>
                    <a:lnTo>
                      <a:pt x="138" y="498"/>
                    </a:lnTo>
                    <a:lnTo>
                      <a:pt x="138" y="489"/>
                    </a:lnTo>
                    <a:lnTo>
                      <a:pt x="134" y="476"/>
                    </a:lnTo>
                    <a:lnTo>
                      <a:pt x="134" y="459"/>
                    </a:lnTo>
                    <a:lnTo>
                      <a:pt x="125" y="394"/>
                    </a:lnTo>
                    <a:lnTo>
                      <a:pt x="125" y="385"/>
                    </a:lnTo>
                    <a:lnTo>
                      <a:pt x="125" y="372"/>
                    </a:lnTo>
                    <a:lnTo>
                      <a:pt x="95" y="117"/>
                    </a:lnTo>
                    <a:lnTo>
                      <a:pt x="69" y="372"/>
                    </a:lnTo>
                    <a:lnTo>
                      <a:pt x="69" y="385"/>
                    </a:lnTo>
                    <a:lnTo>
                      <a:pt x="69" y="394"/>
                    </a:lnTo>
                    <a:lnTo>
                      <a:pt x="61" y="459"/>
                    </a:lnTo>
                    <a:lnTo>
                      <a:pt x="61" y="476"/>
                    </a:lnTo>
                    <a:lnTo>
                      <a:pt x="56" y="489"/>
                    </a:lnTo>
                    <a:lnTo>
                      <a:pt x="56" y="502"/>
                    </a:lnTo>
                    <a:lnTo>
                      <a:pt x="48" y="584"/>
                    </a:lnTo>
                    <a:lnTo>
                      <a:pt x="48" y="602"/>
                    </a:lnTo>
                    <a:lnTo>
                      <a:pt x="43" y="615"/>
                    </a:lnTo>
                    <a:lnTo>
                      <a:pt x="43" y="628"/>
                    </a:lnTo>
                    <a:lnTo>
                      <a:pt x="30" y="745"/>
                    </a:lnTo>
                    <a:lnTo>
                      <a:pt x="30" y="762"/>
                    </a:lnTo>
                    <a:lnTo>
                      <a:pt x="30" y="775"/>
                    </a:lnTo>
                    <a:lnTo>
                      <a:pt x="26" y="788"/>
                    </a:lnTo>
                    <a:lnTo>
                      <a:pt x="13" y="926"/>
                    </a:lnTo>
                    <a:lnTo>
                      <a:pt x="13" y="944"/>
                    </a:lnTo>
                    <a:lnTo>
                      <a:pt x="9" y="961"/>
                    </a:lnTo>
                    <a:lnTo>
                      <a:pt x="0" y="961"/>
                    </a:lnTo>
                    <a:lnTo>
                      <a:pt x="0" y="939"/>
                    </a:lnTo>
                    <a:lnTo>
                      <a:pt x="17" y="775"/>
                    </a:lnTo>
                    <a:lnTo>
                      <a:pt x="17" y="762"/>
                    </a:lnTo>
                    <a:lnTo>
                      <a:pt x="35" y="615"/>
                    </a:lnTo>
                    <a:lnTo>
                      <a:pt x="35" y="602"/>
                    </a:lnTo>
                    <a:lnTo>
                      <a:pt x="35" y="597"/>
                    </a:lnTo>
                    <a:lnTo>
                      <a:pt x="43" y="489"/>
                    </a:lnTo>
                    <a:lnTo>
                      <a:pt x="48" y="489"/>
                    </a:lnTo>
                    <a:lnTo>
                      <a:pt x="48" y="476"/>
                    </a:lnTo>
                    <a:lnTo>
                      <a:pt x="56" y="381"/>
                    </a:lnTo>
                    <a:lnTo>
                      <a:pt x="56" y="372"/>
                    </a:lnTo>
                    <a:lnTo>
                      <a:pt x="86" y="82"/>
                    </a:lnTo>
                    <a:lnTo>
                      <a:pt x="95" y="0"/>
                    </a:lnTo>
                    <a:lnTo>
                      <a:pt x="134" y="372"/>
                    </a:lnTo>
                    <a:lnTo>
                      <a:pt x="138" y="381"/>
                    </a:lnTo>
                    <a:lnTo>
                      <a:pt x="147" y="476"/>
                    </a:lnTo>
                    <a:lnTo>
                      <a:pt x="147" y="481"/>
                    </a:lnTo>
                    <a:lnTo>
                      <a:pt x="151" y="489"/>
                    </a:lnTo>
                    <a:lnTo>
                      <a:pt x="160" y="602"/>
                    </a:lnTo>
                    <a:lnTo>
                      <a:pt x="164" y="606"/>
                    </a:lnTo>
                    <a:lnTo>
                      <a:pt x="164" y="610"/>
                    </a:lnTo>
                    <a:lnTo>
                      <a:pt x="164" y="615"/>
                    </a:lnTo>
                    <a:lnTo>
                      <a:pt x="182" y="762"/>
                    </a:lnTo>
                    <a:lnTo>
                      <a:pt x="182" y="771"/>
                    </a:lnTo>
                    <a:lnTo>
                      <a:pt x="182" y="775"/>
                    </a:lnTo>
                    <a:lnTo>
                      <a:pt x="203" y="948"/>
                    </a:lnTo>
                    <a:lnTo>
                      <a:pt x="203" y="952"/>
                    </a:lnTo>
                    <a:lnTo>
                      <a:pt x="203" y="9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1" name="Freeform 274">
                <a:extLst>
                  <a:ext uri="{FF2B5EF4-FFF2-40B4-BE49-F238E27FC236}">
                    <a16:creationId xmlns:a16="http://schemas.microsoft.com/office/drawing/2014/main" id="{BBF9CA60-AB5B-4DAF-A92D-63A1144E6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191" y="4889373"/>
                <a:ext cx="135953" cy="294168"/>
              </a:xfrm>
              <a:custGeom>
                <a:avLst/>
                <a:gdLst>
                  <a:gd name="T0" fmla="*/ 2147483646 w 190"/>
                  <a:gd name="T1" fmla="*/ 2147483646 h 589"/>
                  <a:gd name="T2" fmla="*/ 2147483646 w 190"/>
                  <a:gd name="T3" fmla="*/ 2147483646 h 589"/>
                  <a:gd name="T4" fmla="*/ 2147483646 w 190"/>
                  <a:gd name="T5" fmla="*/ 2147483646 h 589"/>
                  <a:gd name="T6" fmla="*/ 2147483646 w 190"/>
                  <a:gd name="T7" fmla="*/ 2147483646 h 589"/>
                  <a:gd name="T8" fmla="*/ 2147483646 w 190"/>
                  <a:gd name="T9" fmla="*/ 2147483646 h 589"/>
                  <a:gd name="T10" fmla="*/ 2147483646 w 190"/>
                  <a:gd name="T11" fmla="*/ 2147483646 h 589"/>
                  <a:gd name="T12" fmla="*/ 2147483646 w 190"/>
                  <a:gd name="T13" fmla="*/ 2147483646 h 589"/>
                  <a:gd name="T14" fmla="*/ 2147483646 w 190"/>
                  <a:gd name="T15" fmla="*/ 2147483646 h 589"/>
                  <a:gd name="T16" fmla="*/ 2147483646 w 190"/>
                  <a:gd name="T17" fmla="*/ 2147483646 h 589"/>
                  <a:gd name="T18" fmla="*/ 2147483646 w 190"/>
                  <a:gd name="T19" fmla="*/ 2147483646 h 589"/>
                  <a:gd name="T20" fmla="*/ 2147483646 w 190"/>
                  <a:gd name="T21" fmla="*/ 2147483646 h 589"/>
                  <a:gd name="T22" fmla="*/ 2147483646 w 190"/>
                  <a:gd name="T23" fmla="*/ 2147483646 h 589"/>
                  <a:gd name="T24" fmla="*/ 2147483646 w 190"/>
                  <a:gd name="T25" fmla="*/ 2147483646 h 589"/>
                  <a:gd name="T26" fmla="*/ 2147483646 w 190"/>
                  <a:gd name="T27" fmla="*/ 2147483646 h 589"/>
                  <a:gd name="T28" fmla="*/ 2147483646 w 190"/>
                  <a:gd name="T29" fmla="*/ 2147483646 h 589"/>
                  <a:gd name="T30" fmla="*/ 2147483646 w 190"/>
                  <a:gd name="T31" fmla="*/ 2147483646 h 589"/>
                  <a:gd name="T32" fmla="*/ 2147483646 w 190"/>
                  <a:gd name="T33" fmla="*/ 0 h 589"/>
                  <a:gd name="T34" fmla="*/ 2147483646 w 190"/>
                  <a:gd name="T35" fmla="*/ 2147483646 h 589"/>
                  <a:gd name="T36" fmla="*/ 2147483646 w 190"/>
                  <a:gd name="T37" fmla="*/ 2147483646 h 589"/>
                  <a:gd name="T38" fmla="*/ 2147483646 w 190"/>
                  <a:gd name="T39" fmla="*/ 2147483646 h 589"/>
                  <a:gd name="T40" fmla="*/ 2147483646 w 190"/>
                  <a:gd name="T41" fmla="*/ 2147483646 h 589"/>
                  <a:gd name="T42" fmla="*/ 2147483646 w 190"/>
                  <a:gd name="T43" fmla="*/ 2147483646 h 589"/>
                  <a:gd name="T44" fmla="*/ 2147483646 w 190"/>
                  <a:gd name="T45" fmla="*/ 2147483646 h 589"/>
                  <a:gd name="T46" fmla="*/ 2147483646 w 190"/>
                  <a:gd name="T47" fmla="*/ 2147483646 h 589"/>
                  <a:gd name="T48" fmla="*/ 2147483646 w 190"/>
                  <a:gd name="T49" fmla="*/ 2147483646 h 589"/>
                  <a:gd name="T50" fmla="*/ 2147483646 w 190"/>
                  <a:gd name="T51" fmla="*/ 2147483646 h 589"/>
                  <a:gd name="T52" fmla="*/ 2147483646 w 190"/>
                  <a:gd name="T53" fmla="*/ 2147483646 h 589"/>
                  <a:gd name="T54" fmla="*/ 2147483646 w 190"/>
                  <a:gd name="T55" fmla="*/ 2147483646 h 589"/>
                  <a:gd name="T56" fmla="*/ 2147483646 w 190"/>
                  <a:gd name="T57" fmla="*/ 2147483646 h 589"/>
                  <a:gd name="T58" fmla="*/ 2147483646 w 190"/>
                  <a:gd name="T59" fmla="*/ 2147483646 h 589"/>
                  <a:gd name="T60" fmla="*/ 2147483646 w 190"/>
                  <a:gd name="T61" fmla="*/ 2147483646 h 589"/>
                  <a:gd name="T62" fmla="*/ 2147483646 w 190"/>
                  <a:gd name="T63" fmla="*/ 2147483646 h 589"/>
                  <a:gd name="T64" fmla="*/ 2147483646 w 190"/>
                  <a:gd name="T65" fmla="*/ 2147483646 h 589"/>
                  <a:gd name="T66" fmla="*/ 2147483646 w 190"/>
                  <a:gd name="T67" fmla="*/ 2147483646 h 5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90" h="589">
                    <a:moveTo>
                      <a:pt x="190" y="580"/>
                    </a:moveTo>
                    <a:lnTo>
                      <a:pt x="190" y="580"/>
                    </a:lnTo>
                    <a:lnTo>
                      <a:pt x="181" y="589"/>
                    </a:lnTo>
                    <a:lnTo>
                      <a:pt x="177" y="585"/>
                    </a:lnTo>
                    <a:lnTo>
                      <a:pt x="82" y="485"/>
                    </a:lnTo>
                    <a:lnTo>
                      <a:pt x="73" y="476"/>
                    </a:lnTo>
                    <a:lnTo>
                      <a:pt x="13" y="416"/>
                    </a:lnTo>
                    <a:lnTo>
                      <a:pt x="4" y="403"/>
                    </a:lnTo>
                    <a:lnTo>
                      <a:pt x="0" y="403"/>
                    </a:lnTo>
                    <a:lnTo>
                      <a:pt x="4" y="403"/>
                    </a:lnTo>
                    <a:lnTo>
                      <a:pt x="4" y="390"/>
                    </a:lnTo>
                    <a:lnTo>
                      <a:pt x="143" y="390"/>
                    </a:lnTo>
                    <a:lnTo>
                      <a:pt x="82" y="316"/>
                    </a:lnTo>
                    <a:lnTo>
                      <a:pt x="73" y="308"/>
                    </a:lnTo>
                    <a:lnTo>
                      <a:pt x="30" y="256"/>
                    </a:lnTo>
                    <a:lnTo>
                      <a:pt x="22" y="243"/>
                    </a:lnTo>
                    <a:lnTo>
                      <a:pt x="22" y="230"/>
                    </a:lnTo>
                    <a:lnTo>
                      <a:pt x="130" y="230"/>
                    </a:lnTo>
                    <a:lnTo>
                      <a:pt x="82" y="178"/>
                    </a:lnTo>
                    <a:lnTo>
                      <a:pt x="73" y="165"/>
                    </a:lnTo>
                    <a:lnTo>
                      <a:pt x="43" y="130"/>
                    </a:lnTo>
                    <a:lnTo>
                      <a:pt x="30" y="117"/>
                    </a:lnTo>
                    <a:lnTo>
                      <a:pt x="35" y="117"/>
                    </a:lnTo>
                    <a:lnTo>
                      <a:pt x="35" y="104"/>
                    </a:lnTo>
                    <a:lnTo>
                      <a:pt x="117" y="104"/>
                    </a:lnTo>
                    <a:lnTo>
                      <a:pt x="82" y="61"/>
                    </a:lnTo>
                    <a:lnTo>
                      <a:pt x="73" y="52"/>
                    </a:lnTo>
                    <a:lnTo>
                      <a:pt x="56" y="22"/>
                    </a:lnTo>
                    <a:lnTo>
                      <a:pt x="43" y="9"/>
                    </a:lnTo>
                    <a:lnTo>
                      <a:pt x="43" y="0"/>
                    </a:lnTo>
                    <a:lnTo>
                      <a:pt x="117" y="0"/>
                    </a:lnTo>
                    <a:lnTo>
                      <a:pt x="117" y="13"/>
                    </a:lnTo>
                    <a:lnTo>
                      <a:pt x="61" y="13"/>
                    </a:lnTo>
                    <a:lnTo>
                      <a:pt x="82" y="39"/>
                    </a:lnTo>
                    <a:lnTo>
                      <a:pt x="91" y="52"/>
                    </a:lnTo>
                    <a:lnTo>
                      <a:pt x="121" y="87"/>
                    </a:lnTo>
                    <a:lnTo>
                      <a:pt x="134" y="104"/>
                    </a:lnTo>
                    <a:lnTo>
                      <a:pt x="134" y="109"/>
                    </a:lnTo>
                    <a:lnTo>
                      <a:pt x="138" y="117"/>
                    </a:lnTo>
                    <a:lnTo>
                      <a:pt x="48" y="117"/>
                    </a:lnTo>
                    <a:lnTo>
                      <a:pt x="82" y="156"/>
                    </a:lnTo>
                    <a:lnTo>
                      <a:pt x="91" y="165"/>
                    </a:lnTo>
                    <a:lnTo>
                      <a:pt x="134" y="217"/>
                    </a:lnTo>
                    <a:lnTo>
                      <a:pt x="147" y="230"/>
                    </a:lnTo>
                    <a:lnTo>
                      <a:pt x="151" y="234"/>
                    </a:lnTo>
                    <a:lnTo>
                      <a:pt x="151" y="238"/>
                    </a:lnTo>
                    <a:lnTo>
                      <a:pt x="151" y="243"/>
                    </a:lnTo>
                    <a:lnTo>
                      <a:pt x="35" y="243"/>
                    </a:lnTo>
                    <a:lnTo>
                      <a:pt x="82" y="299"/>
                    </a:lnTo>
                    <a:lnTo>
                      <a:pt x="91" y="308"/>
                    </a:lnTo>
                    <a:lnTo>
                      <a:pt x="156" y="381"/>
                    </a:lnTo>
                    <a:lnTo>
                      <a:pt x="160" y="390"/>
                    </a:lnTo>
                    <a:lnTo>
                      <a:pt x="169" y="399"/>
                    </a:lnTo>
                    <a:lnTo>
                      <a:pt x="169" y="403"/>
                    </a:lnTo>
                    <a:lnTo>
                      <a:pt x="17" y="403"/>
                    </a:lnTo>
                    <a:lnTo>
                      <a:pt x="82" y="468"/>
                    </a:lnTo>
                    <a:lnTo>
                      <a:pt x="91" y="476"/>
                    </a:lnTo>
                    <a:lnTo>
                      <a:pt x="173" y="563"/>
                    </a:lnTo>
                    <a:lnTo>
                      <a:pt x="190" y="576"/>
                    </a:lnTo>
                    <a:lnTo>
                      <a:pt x="190" y="58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Freeform 275">
                <a:extLst>
                  <a:ext uri="{FF2B5EF4-FFF2-40B4-BE49-F238E27FC236}">
                    <a16:creationId xmlns:a16="http://schemas.microsoft.com/office/drawing/2014/main" id="{065F463D-79CC-44A8-945B-E6E31EB97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889" y="4889373"/>
                <a:ext cx="130229" cy="294168"/>
              </a:xfrm>
              <a:custGeom>
                <a:avLst/>
                <a:gdLst>
                  <a:gd name="T0" fmla="*/ 2147483646 w 182"/>
                  <a:gd name="T1" fmla="*/ 2147483646 h 589"/>
                  <a:gd name="T2" fmla="*/ 2147483646 w 182"/>
                  <a:gd name="T3" fmla="*/ 2147483646 h 589"/>
                  <a:gd name="T4" fmla="*/ 2147483646 w 182"/>
                  <a:gd name="T5" fmla="*/ 2147483646 h 589"/>
                  <a:gd name="T6" fmla="*/ 2147483646 w 182"/>
                  <a:gd name="T7" fmla="*/ 2147483646 h 589"/>
                  <a:gd name="T8" fmla="*/ 2147483646 w 182"/>
                  <a:gd name="T9" fmla="*/ 2147483646 h 589"/>
                  <a:gd name="T10" fmla="*/ 2147483646 w 182"/>
                  <a:gd name="T11" fmla="*/ 2147483646 h 589"/>
                  <a:gd name="T12" fmla="*/ 2147483646 w 182"/>
                  <a:gd name="T13" fmla="*/ 2147483646 h 589"/>
                  <a:gd name="T14" fmla="*/ 0 w 182"/>
                  <a:gd name="T15" fmla="*/ 2147483646 h 589"/>
                  <a:gd name="T16" fmla="*/ 0 w 182"/>
                  <a:gd name="T17" fmla="*/ 2147483646 h 589"/>
                  <a:gd name="T18" fmla="*/ 2147483646 w 182"/>
                  <a:gd name="T19" fmla="*/ 2147483646 h 589"/>
                  <a:gd name="T20" fmla="*/ 2147483646 w 182"/>
                  <a:gd name="T21" fmla="*/ 2147483646 h 589"/>
                  <a:gd name="T22" fmla="*/ 2147483646 w 182"/>
                  <a:gd name="T23" fmla="*/ 2147483646 h 589"/>
                  <a:gd name="T24" fmla="*/ 2147483646 w 182"/>
                  <a:gd name="T25" fmla="*/ 2147483646 h 589"/>
                  <a:gd name="T26" fmla="*/ 2147483646 w 182"/>
                  <a:gd name="T27" fmla="*/ 2147483646 h 589"/>
                  <a:gd name="T28" fmla="*/ 2147483646 w 182"/>
                  <a:gd name="T29" fmla="*/ 2147483646 h 589"/>
                  <a:gd name="T30" fmla="*/ 2147483646 w 182"/>
                  <a:gd name="T31" fmla="*/ 2147483646 h 589"/>
                  <a:gd name="T32" fmla="*/ 2147483646 w 182"/>
                  <a:gd name="T33" fmla="*/ 2147483646 h 589"/>
                  <a:gd name="T34" fmla="*/ 2147483646 w 182"/>
                  <a:gd name="T35" fmla="*/ 2147483646 h 589"/>
                  <a:gd name="T36" fmla="*/ 2147483646 w 182"/>
                  <a:gd name="T37" fmla="*/ 2147483646 h 589"/>
                  <a:gd name="T38" fmla="*/ 2147483646 w 182"/>
                  <a:gd name="T39" fmla="*/ 2147483646 h 589"/>
                  <a:gd name="T40" fmla="*/ 2147483646 w 182"/>
                  <a:gd name="T41" fmla="*/ 2147483646 h 589"/>
                  <a:gd name="T42" fmla="*/ 2147483646 w 182"/>
                  <a:gd name="T43" fmla="*/ 2147483646 h 589"/>
                  <a:gd name="T44" fmla="*/ 2147483646 w 182"/>
                  <a:gd name="T45" fmla="*/ 2147483646 h 589"/>
                  <a:gd name="T46" fmla="*/ 2147483646 w 182"/>
                  <a:gd name="T47" fmla="*/ 2147483646 h 589"/>
                  <a:gd name="T48" fmla="*/ 2147483646 w 182"/>
                  <a:gd name="T49" fmla="*/ 2147483646 h 589"/>
                  <a:gd name="T50" fmla="*/ 2147483646 w 182"/>
                  <a:gd name="T51" fmla="*/ 2147483646 h 589"/>
                  <a:gd name="T52" fmla="*/ 2147483646 w 182"/>
                  <a:gd name="T53" fmla="*/ 2147483646 h 589"/>
                  <a:gd name="T54" fmla="*/ 2147483646 w 182"/>
                  <a:gd name="T55" fmla="*/ 2147483646 h 589"/>
                  <a:gd name="T56" fmla="*/ 2147483646 w 182"/>
                  <a:gd name="T57" fmla="*/ 2147483646 h 589"/>
                  <a:gd name="T58" fmla="*/ 2147483646 w 182"/>
                  <a:gd name="T59" fmla="*/ 2147483646 h 589"/>
                  <a:gd name="T60" fmla="*/ 2147483646 w 182"/>
                  <a:gd name="T61" fmla="*/ 2147483646 h 589"/>
                  <a:gd name="T62" fmla="*/ 2147483646 w 182"/>
                  <a:gd name="T63" fmla="*/ 2147483646 h 589"/>
                  <a:gd name="T64" fmla="*/ 2147483646 w 182"/>
                  <a:gd name="T65" fmla="*/ 2147483646 h 589"/>
                  <a:gd name="T66" fmla="*/ 2147483646 w 182"/>
                  <a:gd name="T67" fmla="*/ 2147483646 h 589"/>
                  <a:gd name="T68" fmla="*/ 2147483646 w 182"/>
                  <a:gd name="T69" fmla="*/ 2147483646 h 589"/>
                  <a:gd name="T70" fmla="*/ 2147483646 w 182"/>
                  <a:gd name="T71" fmla="*/ 2147483646 h 589"/>
                  <a:gd name="T72" fmla="*/ 2147483646 w 182"/>
                  <a:gd name="T73" fmla="*/ 0 h 589"/>
                  <a:gd name="T74" fmla="*/ 2147483646 w 182"/>
                  <a:gd name="T75" fmla="*/ 0 h 589"/>
                  <a:gd name="T76" fmla="*/ 2147483646 w 182"/>
                  <a:gd name="T77" fmla="*/ 2147483646 h 589"/>
                  <a:gd name="T78" fmla="*/ 2147483646 w 182"/>
                  <a:gd name="T79" fmla="*/ 2147483646 h 589"/>
                  <a:gd name="T80" fmla="*/ 2147483646 w 182"/>
                  <a:gd name="T81" fmla="*/ 2147483646 h 589"/>
                  <a:gd name="T82" fmla="*/ 2147483646 w 182"/>
                  <a:gd name="T83" fmla="*/ 2147483646 h 589"/>
                  <a:gd name="T84" fmla="*/ 2147483646 w 182"/>
                  <a:gd name="T85" fmla="*/ 2147483646 h 589"/>
                  <a:gd name="T86" fmla="*/ 2147483646 w 182"/>
                  <a:gd name="T87" fmla="*/ 2147483646 h 589"/>
                  <a:gd name="T88" fmla="*/ 2147483646 w 182"/>
                  <a:gd name="T89" fmla="*/ 2147483646 h 589"/>
                  <a:gd name="T90" fmla="*/ 2147483646 w 182"/>
                  <a:gd name="T91" fmla="*/ 2147483646 h 589"/>
                  <a:gd name="T92" fmla="*/ 2147483646 w 182"/>
                  <a:gd name="T93" fmla="*/ 2147483646 h 589"/>
                  <a:gd name="T94" fmla="*/ 2147483646 w 182"/>
                  <a:gd name="T95" fmla="*/ 2147483646 h 589"/>
                  <a:gd name="T96" fmla="*/ 2147483646 w 182"/>
                  <a:gd name="T97" fmla="*/ 2147483646 h 589"/>
                  <a:gd name="T98" fmla="*/ 2147483646 w 182"/>
                  <a:gd name="T99" fmla="*/ 2147483646 h 589"/>
                  <a:gd name="T100" fmla="*/ 2147483646 w 182"/>
                  <a:gd name="T101" fmla="*/ 2147483646 h 589"/>
                  <a:gd name="T102" fmla="*/ 2147483646 w 182"/>
                  <a:gd name="T103" fmla="*/ 2147483646 h 589"/>
                  <a:gd name="T104" fmla="*/ 2147483646 w 182"/>
                  <a:gd name="T105" fmla="*/ 2147483646 h 589"/>
                  <a:gd name="T106" fmla="*/ 2147483646 w 182"/>
                  <a:gd name="T107" fmla="*/ 2147483646 h 589"/>
                  <a:gd name="T108" fmla="*/ 2147483646 w 182"/>
                  <a:gd name="T109" fmla="*/ 2147483646 h 589"/>
                  <a:gd name="T110" fmla="*/ 2147483646 w 182"/>
                  <a:gd name="T111" fmla="*/ 2147483646 h 589"/>
                  <a:gd name="T112" fmla="*/ 2147483646 w 182"/>
                  <a:gd name="T113" fmla="*/ 2147483646 h 589"/>
                  <a:gd name="T114" fmla="*/ 2147483646 w 182"/>
                  <a:gd name="T115" fmla="*/ 2147483646 h 589"/>
                  <a:gd name="T116" fmla="*/ 2147483646 w 182"/>
                  <a:gd name="T117" fmla="*/ 2147483646 h 589"/>
                  <a:gd name="T118" fmla="*/ 2147483646 w 182"/>
                  <a:gd name="T119" fmla="*/ 2147483646 h 589"/>
                  <a:gd name="T120" fmla="*/ 2147483646 w 182"/>
                  <a:gd name="T121" fmla="*/ 2147483646 h 589"/>
                  <a:gd name="T122" fmla="*/ 2147483646 w 182"/>
                  <a:gd name="T123" fmla="*/ 2147483646 h 58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82" h="589">
                    <a:moveTo>
                      <a:pt x="182" y="399"/>
                    </a:moveTo>
                    <a:lnTo>
                      <a:pt x="182" y="399"/>
                    </a:lnTo>
                    <a:lnTo>
                      <a:pt x="177" y="403"/>
                    </a:lnTo>
                    <a:lnTo>
                      <a:pt x="169" y="411"/>
                    </a:lnTo>
                    <a:lnTo>
                      <a:pt x="104" y="476"/>
                    </a:lnTo>
                    <a:lnTo>
                      <a:pt x="95" y="485"/>
                    </a:lnTo>
                    <a:lnTo>
                      <a:pt x="13" y="572"/>
                    </a:lnTo>
                    <a:lnTo>
                      <a:pt x="0" y="589"/>
                    </a:lnTo>
                    <a:lnTo>
                      <a:pt x="0" y="567"/>
                    </a:lnTo>
                    <a:lnTo>
                      <a:pt x="13" y="554"/>
                    </a:lnTo>
                    <a:lnTo>
                      <a:pt x="86" y="476"/>
                    </a:lnTo>
                    <a:lnTo>
                      <a:pt x="95" y="468"/>
                    </a:lnTo>
                    <a:lnTo>
                      <a:pt x="160" y="403"/>
                    </a:lnTo>
                    <a:lnTo>
                      <a:pt x="17" y="403"/>
                    </a:lnTo>
                    <a:lnTo>
                      <a:pt x="17" y="390"/>
                    </a:lnTo>
                    <a:lnTo>
                      <a:pt x="30" y="373"/>
                    </a:lnTo>
                    <a:lnTo>
                      <a:pt x="86" y="308"/>
                    </a:lnTo>
                    <a:lnTo>
                      <a:pt x="95" y="299"/>
                    </a:lnTo>
                    <a:lnTo>
                      <a:pt x="147" y="243"/>
                    </a:lnTo>
                    <a:lnTo>
                      <a:pt x="35" y="243"/>
                    </a:lnTo>
                    <a:lnTo>
                      <a:pt x="35" y="230"/>
                    </a:lnTo>
                    <a:lnTo>
                      <a:pt x="35" y="225"/>
                    </a:lnTo>
                    <a:lnTo>
                      <a:pt x="48" y="212"/>
                    </a:lnTo>
                    <a:lnTo>
                      <a:pt x="86" y="165"/>
                    </a:lnTo>
                    <a:lnTo>
                      <a:pt x="95" y="156"/>
                    </a:lnTo>
                    <a:lnTo>
                      <a:pt x="134" y="117"/>
                    </a:lnTo>
                    <a:lnTo>
                      <a:pt x="48" y="117"/>
                    </a:lnTo>
                    <a:lnTo>
                      <a:pt x="48" y="104"/>
                    </a:lnTo>
                    <a:lnTo>
                      <a:pt x="61" y="87"/>
                    </a:lnTo>
                    <a:lnTo>
                      <a:pt x="86" y="52"/>
                    </a:lnTo>
                    <a:lnTo>
                      <a:pt x="95" y="39"/>
                    </a:lnTo>
                    <a:lnTo>
                      <a:pt x="117" y="13"/>
                    </a:lnTo>
                    <a:lnTo>
                      <a:pt x="61" y="13"/>
                    </a:lnTo>
                    <a:lnTo>
                      <a:pt x="61" y="0"/>
                    </a:lnTo>
                    <a:lnTo>
                      <a:pt x="134" y="0"/>
                    </a:lnTo>
                    <a:lnTo>
                      <a:pt x="138" y="9"/>
                    </a:lnTo>
                    <a:lnTo>
                      <a:pt x="125" y="22"/>
                    </a:lnTo>
                    <a:lnTo>
                      <a:pt x="104" y="52"/>
                    </a:lnTo>
                    <a:lnTo>
                      <a:pt x="95" y="61"/>
                    </a:lnTo>
                    <a:lnTo>
                      <a:pt x="61" y="104"/>
                    </a:lnTo>
                    <a:lnTo>
                      <a:pt x="147" y="104"/>
                    </a:lnTo>
                    <a:lnTo>
                      <a:pt x="147" y="109"/>
                    </a:lnTo>
                    <a:lnTo>
                      <a:pt x="151" y="117"/>
                    </a:lnTo>
                    <a:lnTo>
                      <a:pt x="147" y="117"/>
                    </a:lnTo>
                    <a:lnTo>
                      <a:pt x="138" y="126"/>
                    </a:lnTo>
                    <a:lnTo>
                      <a:pt x="104" y="165"/>
                    </a:lnTo>
                    <a:lnTo>
                      <a:pt x="95" y="178"/>
                    </a:lnTo>
                    <a:lnTo>
                      <a:pt x="52" y="230"/>
                    </a:lnTo>
                    <a:lnTo>
                      <a:pt x="160" y="230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0" y="243"/>
                    </a:lnTo>
                    <a:lnTo>
                      <a:pt x="151" y="251"/>
                    </a:lnTo>
                    <a:lnTo>
                      <a:pt x="104" y="308"/>
                    </a:lnTo>
                    <a:lnTo>
                      <a:pt x="95" y="316"/>
                    </a:lnTo>
                    <a:lnTo>
                      <a:pt x="35" y="390"/>
                    </a:lnTo>
                    <a:lnTo>
                      <a:pt x="182" y="390"/>
                    </a:lnTo>
                    <a:lnTo>
                      <a:pt x="182" y="399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4" name="组合 535">
              <a:extLst>
                <a:ext uri="{FF2B5EF4-FFF2-40B4-BE49-F238E27FC236}">
                  <a16:creationId xmlns:a16="http://schemas.microsoft.com/office/drawing/2014/main" id="{D9AD8BA6-5848-403F-BAE0-B9C1633C50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424132" y="4096513"/>
              <a:ext cx="355562" cy="638175"/>
              <a:chOff x="557702" y="944862"/>
              <a:chExt cx="1270765" cy="2399772"/>
            </a:xfrm>
          </p:grpSpPr>
          <p:sp>
            <p:nvSpPr>
              <p:cNvPr id="37" name="Freeform 125">
                <a:extLst>
                  <a:ext uri="{FF2B5EF4-FFF2-40B4-BE49-F238E27FC236}">
                    <a16:creationId xmlns:a16="http://schemas.microsoft.com/office/drawing/2014/main" id="{6258AA05-9475-4716-8485-F0E875F65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02" y="944862"/>
                <a:ext cx="1270765" cy="1799829"/>
              </a:xfrm>
              <a:custGeom>
                <a:avLst/>
                <a:gdLst>
                  <a:gd name="T0" fmla="*/ 2147483646 w 212"/>
                  <a:gd name="T1" fmla="*/ 2147483646 h 300"/>
                  <a:gd name="T2" fmla="*/ 2147483646 w 212"/>
                  <a:gd name="T3" fmla="*/ 2147483646 h 300"/>
                  <a:gd name="T4" fmla="*/ 2147483646 w 212"/>
                  <a:gd name="T5" fmla="*/ 2147483646 h 300"/>
                  <a:gd name="T6" fmla="*/ 2147483646 w 212"/>
                  <a:gd name="T7" fmla="*/ 2147483646 h 300"/>
                  <a:gd name="T8" fmla="*/ 2147483646 w 212"/>
                  <a:gd name="T9" fmla="*/ 2147483646 h 300"/>
                  <a:gd name="T10" fmla="*/ 2147483646 w 212"/>
                  <a:gd name="T11" fmla="*/ 2147483646 h 300"/>
                  <a:gd name="T12" fmla="*/ 2147483646 w 212"/>
                  <a:gd name="T13" fmla="*/ 2147483646 h 300"/>
                  <a:gd name="T14" fmla="*/ 2147483646 w 212"/>
                  <a:gd name="T15" fmla="*/ 2147483646 h 300"/>
                  <a:gd name="T16" fmla="*/ 2147483646 w 212"/>
                  <a:gd name="T17" fmla="*/ 2147483646 h 300"/>
                  <a:gd name="T18" fmla="*/ 2147483646 w 212"/>
                  <a:gd name="T19" fmla="*/ 2147483646 h 300"/>
                  <a:gd name="T20" fmla="*/ 2147483646 w 212"/>
                  <a:gd name="T21" fmla="*/ 2147483646 h 300"/>
                  <a:gd name="T22" fmla="*/ 0 w 212"/>
                  <a:gd name="T23" fmla="*/ 2147483646 h 300"/>
                  <a:gd name="T24" fmla="*/ 2147483646 w 212"/>
                  <a:gd name="T25" fmla="*/ 2147483646 h 300"/>
                  <a:gd name="T26" fmla="*/ 2147483646 w 212"/>
                  <a:gd name="T27" fmla="*/ 2147483646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2" h="300">
                    <a:moveTo>
                      <a:pt x="212" y="107"/>
                    </a:moveTo>
                    <a:cubicBezTo>
                      <a:pt x="212" y="124"/>
                      <a:pt x="207" y="141"/>
                      <a:pt x="200" y="155"/>
                    </a:cubicBezTo>
                    <a:cubicBezTo>
                      <a:pt x="200" y="155"/>
                      <a:pt x="200" y="155"/>
                      <a:pt x="200" y="155"/>
                    </a:cubicBezTo>
                    <a:cubicBezTo>
                      <a:pt x="197" y="161"/>
                      <a:pt x="194" y="166"/>
                      <a:pt x="190" y="170"/>
                    </a:cubicBezTo>
                    <a:cubicBezTo>
                      <a:pt x="183" y="185"/>
                      <a:pt x="173" y="208"/>
                      <a:pt x="174" y="237"/>
                    </a:cubicBezTo>
                    <a:cubicBezTo>
                      <a:pt x="174" y="287"/>
                      <a:pt x="147" y="300"/>
                      <a:pt x="147" y="300"/>
                    </a:cubicBezTo>
                    <a:cubicBezTo>
                      <a:pt x="63" y="300"/>
                      <a:pt x="63" y="300"/>
                      <a:pt x="63" y="300"/>
                    </a:cubicBezTo>
                    <a:cubicBezTo>
                      <a:pt x="63" y="300"/>
                      <a:pt x="36" y="286"/>
                      <a:pt x="37" y="237"/>
                    </a:cubicBezTo>
                    <a:cubicBezTo>
                      <a:pt x="38" y="207"/>
                      <a:pt x="29" y="184"/>
                      <a:pt x="21" y="170"/>
                    </a:cubicBezTo>
                    <a:cubicBezTo>
                      <a:pt x="18" y="165"/>
                      <a:pt x="14" y="160"/>
                      <a:pt x="12" y="154"/>
                    </a:cubicBezTo>
                    <a:cubicBezTo>
                      <a:pt x="12" y="154"/>
                      <a:pt x="12" y="154"/>
                      <a:pt x="12" y="154"/>
                    </a:cubicBezTo>
                    <a:cubicBezTo>
                      <a:pt x="4" y="140"/>
                      <a:pt x="0" y="123"/>
                      <a:pt x="0" y="106"/>
                    </a:cubicBezTo>
                    <a:cubicBezTo>
                      <a:pt x="1" y="47"/>
                      <a:pt x="48" y="0"/>
                      <a:pt x="107" y="1"/>
                    </a:cubicBezTo>
                    <a:cubicBezTo>
                      <a:pt x="165" y="1"/>
                      <a:pt x="212" y="48"/>
                      <a:pt x="212" y="107"/>
                    </a:cubicBezTo>
                    <a:close/>
                  </a:path>
                </a:pathLst>
              </a:custGeom>
              <a:solidFill>
                <a:srgbClr val="B7E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Freeform 126">
                <a:extLst>
                  <a:ext uri="{FF2B5EF4-FFF2-40B4-BE49-F238E27FC236}">
                    <a16:creationId xmlns:a16="http://schemas.microsoft.com/office/drawing/2014/main" id="{7407B1EB-8FDC-43B6-851D-B759008FCA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5133" y="1658718"/>
                <a:ext cx="478435" cy="1093567"/>
              </a:xfrm>
              <a:custGeom>
                <a:avLst/>
                <a:gdLst>
                  <a:gd name="T0" fmla="*/ 2147483646 w 80"/>
                  <a:gd name="T1" fmla="*/ 2147483646 h 182"/>
                  <a:gd name="T2" fmla="*/ 2147483646 w 80"/>
                  <a:gd name="T3" fmla="*/ 2147483646 h 182"/>
                  <a:gd name="T4" fmla="*/ 0 w 80"/>
                  <a:gd name="T5" fmla="*/ 2147483646 h 182"/>
                  <a:gd name="T6" fmla="*/ 2147483646 w 80"/>
                  <a:gd name="T7" fmla="*/ 2147483646 h 182"/>
                  <a:gd name="T8" fmla="*/ 2147483646 w 80"/>
                  <a:gd name="T9" fmla="*/ 0 h 182"/>
                  <a:gd name="T10" fmla="*/ 2147483646 w 80"/>
                  <a:gd name="T11" fmla="*/ 2147483646 h 182"/>
                  <a:gd name="T12" fmla="*/ 2147483646 w 80"/>
                  <a:gd name="T13" fmla="*/ 2147483646 h 182"/>
                  <a:gd name="T14" fmla="*/ 2147483646 w 80"/>
                  <a:gd name="T15" fmla="*/ 2147483646 h 182"/>
                  <a:gd name="T16" fmla="*/ 2147483646 w 80"/>
                  <a:gd name="T17" fmla="*/ 2147483646 h 182"/>
                  <a:gd name="T18" fmla="*/ 2147483646 w 80"/>
                  <a:gd name="T19" fmla="*/ 2147483646 h 182"/>
                  <a:gd name="T20" fmla="*/ 2147483646 w 80"/>
                  <a:gd name="T21" fmla="*/ 2147483646 h 182"/>
                  <a:gd name="T22" fmla="*/ 2147483646 w 80"/>
                  <a:gd name="T23" fmla="*/ 2147483646 h 182"/>
                  <a:gd name="T24" fmla="*/ 2147483646 w 80"/>
                  <a:gd name="T25" fmla="*/ 2147483646 h 182"/>
                  <a:gd name="T26" fmla="*/ 2147483646 w 80"/>
                  <a:gd name="T27" fmla="*/ 2147483646 h 182"/>
                  <a:gd name="T28" fmla="*/ 2147483646 w 80"/>
                  <a:gd name="T29" fmla="*/ 2147483646 h 182"/>
                  <a:gd name="T30" fmla="*/ 2147483646 w 80"/>
                  <a:gd name="T31" fmla="*/ 2147483646 h 182"/>
                  <a:gd name="T32" fmla="*/ 2147483646 w 80"/>
                  <a:gd name="T33" fmla="*/ 2147483646 h 182"/>
                  <a:gd name="T34" fmla="*/ 2147483646 w 80"/>
                  <a:gd name="T35" fmla="*/ 2147483646 h 18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80" h="182">
                    <a:moveTo>
                      <a:pt x="52" y="182"/>
                    </a:moveTo>
                    <a:cubicBezTo>
                      <a:pt x="26" y="181"/>
                      <a:pt x="26" y="181"/>
                      <a:pt x="26" y="18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7"/>
                      <a:pt x="24" y="0"/>
                      <a:pt x="40" y="0"/>
                    </a:cubicBezTo>
                    <a:cubicBezTo>
                      <a:pt x="56" y="0"/>
                      <a:pt x="64" y="8"/>
                      <a:pt x="66" y="9"/>
                    </a:cubicBezTo>
                    <a:cubicBezTo>
                      <a:pt x="80" y="3"/>
                      <a:pt x="80" y="3"/>
                      <a:pt x="80" y="3"/>
                    </a:cubicBezTo>
                    <a:lnTo>
                      <a:pt x="52" y="182"/>
                    </a:lnTo>
                    <a:close/>
                    <a:moveTo>
                      <a:pt x="27" y="180"/>
                    </a:moveTo>
                    <a:cubicBezTo>
                      <a:pt x="51" y="180"/>
                      <a:pt x="51" y="180"/>
                      <a:pt x="51" y="180"/>
                    </a:cubicBezTo>
                    <a:cubicBezTo>
                      <a:pt x="78" y="5"/>
                      <a:pt x="78" y="5"/>
                      <a:pt x="78" y="5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57" y="1"/>
                      <a:pt x="40" y="1"/>
                    </a:cubicBezTo>
                    <a:cubicBezTo>
                      <a:pt x="23" y="1"/>
                      <a:pt x="15" y="10"/>
                      <a:pt x="14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2" y="5"/>
                      <a:pt x="2" y="5"/>
                      <a:pt x="2" y="5"/>
                    </a:cubicBezTo>
                    <a:lnTo>
                      <a:pt x="27" y="180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" name="Freeform 127">
                <a:extLst>
                  <a:ext uri="{FF2B5EF4-FFF2-40B4-BE49-F238E27FC236}">
                    <a16:creationId xmlns:a16="http://schemas.microsoft.com/office/drawing/2014/main" id="{064D7FFF-5A0B-4F17-8986-7673A410D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8669" y="1694158"/>
                <a:ext cx="311363" cy="43034"/>
              </a:xfrm>
              <a:custGeom>
                <a:avLst/>
                <a:gdLst>
                  <a:gd name="T0" fmla="*/ 2147483646 w 52"/>
                  <a:gd name="T1" fmla="*/ 2147483646 h 7"/>
                  <a:gd name="T2" fmla="*/ 2147483646 w 52"/>
                  <a:gd name="T3" fmla="*/ 2147483646 h 7"/>
                  <a:gd name="T4" fmla="*/ 0 w 52"/>
                  <a:gd name="T5" fmla="*/ 2147483646 h 7"/>
                  <a:gd name="T6" fmla="*/ 2147483646 w 52"/>
                  <a:gd name="T7" fmla="*/ 2147483646 h 7"/>
                  <a:gd name="T8" fmla="*/ 2147483646 w 52"/>
                  <a:gd name="T9" fmla="*/ 214748364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2" h="7">
                    <a:moveTo>
                      <a:pt x="52" y="4"/>
                    </a:moveTo>
                    <a:cubicBezTo>
                      <a:pt x="52" y="2"/>
                      <a:pt x="40" y="1"/>
                      <a:pt x="26" y="1"/>
                    </a:cubicBezTo>
                    <a:cubicBezTo>
                      <a:pt x="12" y="0"/>
                      <a:pt x="0" y="2"/>
                      <a:pt x="0" y="4"/>
                    </a:cubicBezTo>
                    <a:cubicBezTo>
                      <a:pt x="0" y="5"/>
                      <a:pt x="12" y="7"/>
                      <a:pt x="26" y="7"/>
                    </a:cubicBezTo>
                    <a:cubicBezTo>
                      <a:pt x="40" y="7"/>
                      <a:pt x="52" y="6"/>
                      <a:pt x="52" y="4"/>
                    </a:cubicBez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Freeform 128">
                <a:extLst>
                  <a:ext uri="{FF2B5EF4-FFF2-40B4-BE49-F238E27FC236}">
                    <a16:creationId xmlns:a16="http://schemas.microsoft.com/office/drawing/2014/main" id="{53A4D31C-9E17-4814-83AB-FC11F4D19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42" y="3104150"/>
                <a:ext cx="577160" cy="121507"/>
              </a:xfrm>
              <a:custGeom>
                <a:avLst/>
                <a:gdLst>
                  <a:gd name="T0" fmla="*/ 2147483646 w 96"/>
                  <a:gd name="T1" fmla="*/ 2147483646 h 20"/>
                  <a:gd name="T2" fmla="*/ 2147483646 w 96"/>
                  <a:gd name="T3" fmla="*/ 2147483646 h 20"/>
                  <a:gd name="T4" fmla="*/ 2147483646 w 96"/>
                  <a:gd name="T5" fmla="*/ 2147483646 h 20"/>
                  <a:gd name="T6" fmla="*/ 0 w 96"/>
                  <a:gd name="T7" fmla="*/ 2147483646 h 20"/>
                  <a:gd name="T8" fmla="*/ 0 w 96"/>
                  <a:gd name="T9" fmla="*/ 2147483646 h 20"/>
                  <a:gd name="T10" fmla="*/ 2147483646 w 96"/>
                  <a:gd name="T11" fmla="*/ 0 h 20"/>
                  <a:gd name="T12" fmla="*/ 2147483646 w 96"/>
                  <a:gd name="T13" fmla="*/ 0 h 20"/>
                  <a:gd name="T14" fmla="*/ 2147483646 w 96"/>
                  <a:gd name="T15" fmla="*/ 2147483646 h 20"/>
                  <a:gd name="T16" fmla="*/ 2147483646 w 96"/>
                  <a:gd name="T17" fmla="*/ 2147483646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6" h="20">
                    <a:moveTo>
                      <a:pt x="96" y="14"/>
                    </a:moveTo>
                    <a:cubicBezTo>
                      <a:pt x="96" y="17"/>
                      <a:pt x="93" y="20"/>
                      <a:pt x="89" y="20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3" y="19"/>
                      <a:pt x="0" y="17"/>
                      <a:pt x="0" y="1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3" y="0"/>
                      <a:pt x="96" y="3"/>
                      <a:pt x="96" y="7"/>
                    </a:cubicBezTo>
                    <a:lnTo>
                      <a:pt x="96" y="14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Freeform 129">
                <a:extLst>
                  <a:ext uri="{FF2B5EF4-FFF2-40B4-BE49-F238E27FC236}">
                    <a16:creationId xmlns:a16="http://schemas.microsoft.com/office/drawing/2014/main" id="{96A28EF7-7339-4612-8F1C-A00DC94E1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42" y="2985174"/>
                <a:ext cx="577160" cy="118976"/>
              </a:xfrm>
              <a:custGeom>
                <a:avLst/>
                <a:gdLst>
                  <a:gd name="T0" fmla="*/ 2147483646 w 96"/>
                  <a:gd name="T1" fmla="*/ 2147483646 h 20"/>
                  <a:gd name="T2" fmla="*/ 2147483646 w 96"/>
                  <a:gd name="T3" fmla="*/ 2147483646 h 20"/>
                  <a:gd name="T4" fmla="*/ 2147483646 w 96"/>
                  <a:gd name="T5" fmla="*/ 2147483646 h 20"/>
                  <a:gd name="T6" fmla="*/ 0 w 96"/>
                  <a:gd name="T7" fmla="*/ 2147483646 h 20"/>
                  <a:gd name="T8" fmla="*/ 0 w 96"/>
                  <a:gd name="T9" fmla="*/ 2147483646 h 20"/>
                  <a:gd name="T10" fmla="*/ 2147483646 w 96"/>
                  <a:gd name="T11" fmla="*/ 0 h 20"/>
                  <a:gd name="T12" fmla="*/ 2147483646 w 96"/>
                  <a:gd name="T13" fmla="*/ 0 h 20"/>
                  <a:gd name="T14" fmla="*/ 2147483646 w 96"/>
                  <a:gd name="T15" fmla="*/ 2147483646 h 20"/>
                  <a:gd name="T16" fmla="*/ 2147483646 w 96"/>
                  <a:gd name="T17" fmla="*/ 2147483646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6" h="20">
                    <a:moveTo>
                      <a:pt x="96" y="13"/>
                    </a:moveTo>
                    <a:cubicBezTo>
                      <a:pt x="96" y="17"/>
                      <a:pt x="93" y="20"/>
                      <a:pt x="89" y="20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3" y="19"/>
                      <a:pt x="0" y="16"/>
                      <a:pt x="0" y="1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3"/>
                      <a:pt x="96" y="6"/>
                    </a:cubicBezTo>
                    <a:lnTo>
                      <a:pt x="96" y="13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Freeform 130">
                <a:extLst>
                  <a:ext uri="{FF2B5EF4-FFF2-40B4-BE49-F238E27FC236}">
                    <a16:creationId xmlns:a16="http://schemas.microsoft.com/office/drawing/2014/main" id="{34162F85-8B06-4C64-86D6-AA0EC5E35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42" y="2858604"/>
                <a:ext cx="577160" cy="121507"/>
              </a:xfrm>
              <a:custGeom>
                <a:avLst/>
                <a:gdLst>
                  <a:gd name="T0" fmla="*/ 2147483646 w 96"/>
                  <a:gd name="T1" fmla="*/ 2147483646 h 20"/>
                  <a:gd name="T2" fmla="*/ 2147483646 w 96"/>
                  <a:gd name="T3" fmla="*/ 2147483646 h 20"/>
                  <a:gd name="T4" fmla="*/ 2147483646 w 96"/>
                  <a:gd name="T5" fmla="*/ 2147483646 h 20"/>
                  <a:gd name="T6" fmla="*/ 0 w 96"/>
                  <a:gd name="T7" fmla="*/ 2147483646 h 20"/>
                  <a:gd name="T8" fmla="*/ 0 w 96"/>
                  <a:gd name="T9" fmla="*/ 2147483646 h 20"/>
                  <a:gd name="T10" fmla="*/ 2147483646 w 96"/>
                  <a:gd name="T11" fmla="*/ 0 h 20"/>
                  <a:gd name="T12" fmla="*/ 2147483646 w 96"/>
                  <a:gd name="T13" fmla="*/ 2147483646 h 20"/>
                  <a:gd name="T14" fmla="*/ 2147483646 w 96"/>
                  <a:gd name="T15" fmla="*/ 2147483646 h 20"/>
                  <a:gd name="T16" fmla="*/ 2147483646 w 96"/>
                  <a:gd name="T17" fmla="*/ 2147483646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6" h="20">
                    <a:moveTo>
                      <a:pt x="96" y="14"/>
                    </a:moveTo>
                    <a:cubicBezTo>
                      <a:pt x="96" y="18"/>
                      <a:pt x="93" y="20"/>
                      <a:pt x="90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0" y="17"/>
                      <a:pt x="0" y="1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93" y="1"/>
                      <a:pt x="96" y="4"/>
                      <a:pt x="96" y="7"/>
                    </a:cubicBezTo>
                    <a:lnTo>
                      <a:pt x="96" y="14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" name="Freeform 131">
                <a:extLst>
                  <a:ext uri="{FF2B5EF4-FFF2-40B4-BE49-F238E27FC236}">
                    <a16:creationId xmlns:a16="http://schemas.microsoft.com/office/drawing/2014/main" id="{F7D5EBD0-5B7B-4706-B69F-0B888ADAE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442" y="2739628"/>
                <a:ext cx="577160" cy="118976"/>
              </a:xfrm>
              <a:custGeom>
                <a:avLst/>
                <a:gdLst>
                  <a:gd name="T0" fmla="*/ 2147483646 w 96"/>
                  <a:gd name="T1" fmla="*/ 2147483646 h 20"/>
                  <a:gd name="T2" fmla="*/ 2147483646 w 96"/>
                  <a:gd name="T3" fmla="*/ 2147483646 h 20"/>
                  <a:gd name="T4" fmla="*/ 2147483646 w 96"/>
                  <a:gd name="T5" fmla="*/ 2147483646 h 20"/>
                  <a:gd name="T6" fmla="*/ 0 w 96"/>
                  <a:gd name="T7" fmla="*/ 2147483646 h 20"/>
                  <a:gd name="T8" fmla="*/ 0 w 96"/>
                  <a:gd name="T9" fmla="*/ 2147483646 h 20"/>
                  <a:gd name="T10" fmla="*/ 2147483646 w 96"/>
                  <a:gd name="T11" fmla="*/ 0 h 20"/>
                  <a:gd name="T12" fmla="*/ 2147483646 w 96"/>
                  <a:gd name="T13" fmla="*/ 2147483646 h 20"/>
                  <a:gd name="T14" fmla="*/ 2147483646 w 96"/>
                  <a:gd name="T15" fmla="*/ 2147483646 h 20"/>
                  <a:gd name="T16" fmla="*/ 2147483646 w 96"/>
                  <a:gd name="T17" fmla="*/ 2147483646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6" h="20">
                    <a:moveTo>
                      <a:pt x="96" y="14"/>
                    </a:moveTo>
                    <a:cubicBezTo>
                      <a:pt x="96" y="17"/>
                      <a:pt x="93" y="20"/>
                      <a:pt x="90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0" y="17"/>
                      <a:pt x="0" y="1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93" y="1"/>
                      <a:pt x="96" y="3"/>
                      <a:pt x="96" y="7"/>
                    </a:cubicBezTo>
                    <a:lnTo>
                      <a:pt x="96" y="14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" name="Freeform 132">
                <a:extLst>
                  <a:ext uri="{FF2B5EF4-FFF2-40B4-BE49-F238E27FC236}">
                    <a16:creationId xmlns:a16="http://schemas.microsoft.com/office/drawing/2014/main" id="{4FEFA811-6EAB-45FB-8064-4B99475EE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4881" y="3225658"/>
                <a:ext cx="498687" cy="118976"/>
              </a:xfrm>
              <a:custGeom>
                <a:avLst/>
                <a:gdLst>
                  <a:gd name="T0" fmla="*/ 2147483646 w 83"/>
                  <a:gd name="T1" fmla="*/ 0 h 20"/>
                  <a:gd name="T2" fmla="*/ 0 w 83"/>
                  <a:gd name="T3" fmla="*/ 0 h 20"/>
                  <a:gd name="T4" fmla="*/ 2147483646 w 83"/>
                  <a:gd name="T5" fmla="*/ 2147483646 h 20"/>
                  <a:gd name="T6" fmla="*/ 2147483646 w 83"/>
                  <a:gd name="T7" fmla="*/ 2147483646 h 20"/>
                  <a:gd name="T8" fmla="*/ 2147483646 w 83"/>
                  <a:gd name="T9" fmla="*/ 0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3" h="20">
                    <a:moveTo>
                      <a:pt x="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0" y="20"/>
                      <a:pt x="42" y="20"/>
                    </a:cubicBezTo>
                    <a:cubicBezTo>
                      <a:pt x="73" y="20"/>
                      <a:pt x="83" y="1"/>
                      <a:pt x="83" y="1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0280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5" name="任意多边形 89">
              <a:extLst>
                <a:ext uri="{FF2B5EF4-FFF2-40B4-BE49-F238E27FC236}">
                  <a16:creationId xmlns:a16="http://schemas.microsoft.com/office/drawing/2014/main" id="{46D555C6-AF6F-4BC4-AA8A-F5131467A2CA}"/>
                </a:ext>
              </a:extLst>
            </p:cNvPr>
            <p:cNvSpPr/>
            <p:nvPr/>
          </p:nvSpPr>
          <p:spPr bwMode="auto">
            <a:xfrm>
              <a:off x="6680623" y="4516451"/>
              <a:ext cx="498393" cy="778680"/>
            </a:xfrm>
            <a:custGeom>
              <a:avLst/>
              <a:gdLst>
                <a:gd name="connsiteX0" fmla="*/ 497840 w 497840"/>
                <a:gd name="connsiteY0" fmla="*/ 0 h 769620"/>
                <a:gd name="connsiteX1" fmla="*/ 391160 w 497840"/>
                <a:gd name="connsiteY1" fmla="*/ 327660 h 769620"/>
                <a:gd name="connsiteX2" fmla="*/ 241300 w 497840"/>
                <a:gd name="connsiteY2" fmla="*/ 614680 h 769620"/>
                <a:gd name="connsiteX3" fmla="*/ 73660 w 497840"/>
                <a:gd name="connsiteY3" fmla="*/ 744220 h 769620"/>
                <a:gd name="connsiteX4" fmla="*/ 0 w 497840"/>
                <a:gd name="connsiteY4" fmla="*/ 769620 h 769620"/>
                <a:gd name="connsiteX5" fmla="*/ 0 w 497840"/>
                <a:gd name="connsiteY5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840" h="769620">
                  <a:moveTo>
                    <a:pt x="497840" y="0"/>
                  </a:moveTo>
                  <a:cubicBezTo>
                    <a:pt x="465878" y="112606"/>
                    <a:pt x="433917" y="225213"/>
                    <a:pt x="391160" y="327660"/>
                  </a:cubicBezTo>
                  <a:cubicBezTo>
                    <a:pt x="348403" y="430107"/>
                    <a:pt x="294217" y="545253"/>
                    <a:pt x="241300" y="614680"/>
                  </a:cubicBezTo>
                  <a:cubicBezTo>
                    <a:pt x="188383" y="684107"/>
                    <a:pt x="113877" y="718397"/>
                    <a:pt x="73660" y="744220"/>
                  </a:cubicBezTo>
                  <a:cubicBezTo>
                    <a:pt x="33443" y="770043"/>
                    <a:pt x="0" y="769620"/>
                    <a:pt x="0" y="769620"/>
                  </a:cubicBezTo>
                  <a:lnTo>
                    <a:pt x="0" y="769620"/>
                  </a:lnTo>
                </a:path>
              </a:pathLst>
            </a:custGeom>
            <a:noFill/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Text Box 82">
              <a:extLst>
                <a:ext uri="{FF2B5EF4-FFF2-40B4-BE49-F238E27FC236}">
                  <a16:creationId xmlns:a16="http://schemas.microsoft.com/office/drawing/2014/main" id="{66855621-F2D4-4889-AC75-A56FDD5B9DFD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711362" y="3076575"/>
              <a:ext cx="224765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None/>
              </a:pPr>
              <a:r>
                <a:rPr lang="en-US" altLang="zh-CN" sz="2000" dirty="0">
                  <a:latin typeface="Times New Roman" panose="0202060305040502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Thermal </a:t>
              </a:r>
              <a:endPara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Text Box 82">
              <a:extLst>
                <a:ext uri="{FF2B5EF4-FFF2-40B4-BE49-F238E27FC236}">
                  <a16:creationId xmlns:a16="http://schemas.microsoft.com/office/drawing/2014/main" id="{69E93C2E-7796-4D54-B627-30FCE807D8FE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262183" y="4268788"/>
              <a:ext cx="129208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0" rIns="0" bIns="0">
              <a:spAutoFit/>
            </a:bodyPr>
            <a:lstStyle>
              <a:defPPr>
                <a:defRPr lang="zh-CN"/>
              </a:defPPr>
              <a:lvl1pPr algn="ctr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None/>
                <a:defRPr sz="2000">
                  <a:latin typeface="楷体" panose="02010609060101010101" pitchFamily="49" charset="-122"/>
                  <a:ea typeface="楷体" panose="02010609060101010101" pitchFamily="49" charset="-122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ind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Text Box 82">
              <a:extLst>
                <a:ext uri="{FF2B5EF4-FFF2-40B4-BE49-F238E27FC236}">
                  <a16:creationId xmlns:a16="http://schemas.microsoft.com/office/drawing/2014/main" id="{0E1AD372-67E7-4C89-8A74-11F5294405D3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141497" y="5691188"/>
              <a:ext cx="129208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0" rIns="0" bIns="0">
              <a:spAutoFit/>
            </a:bodyPr>
            <a:lstStyle>
              <a:defPPr>
                <a:defRPr lang="zh-CN"/>
              </a:defPPr>
              <a:lvl1pPr algn="ctr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None/>
                <a:defRPr sz="2000">
                  <a:latin typeface="楷体" panose="02010609060101010101" pitchFamily="49" charset="-122"/>
                  <a:ea typeface="楷体" panose="02010609060101010101" pitchFamily="49" charset="-122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V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Text Box 82">
              <a:extLst>
                <a:ext uri="{FF2B5EF4-FFF2-40B4-BE49-F238E27FC236}">
                  <a16:creationId xmlns:a16="http://schemas.microsoft.com/office/drawing/2014/main" id="{88DE4650-5A62-4407-8999-DBAD6CCF886A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30397" y="4365626"/>
              <a:ext cx="129208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0" rIns="0" bIns="0">
              <a:spAutoFit/>
            </a:bodyPr>
            <a:lstStyle>
              <a:defPPr>
                <a:defRPr lang="zh-CN"/>
              </a:defPPr>
              <a:lvl1pPr algn="ctr">
                <a:spcBef>
                  <a:spcPct val="50000"/>
                </a:spcBef>
                <a:buClr>
                  <a:schemeClr val="tx1"/>
                </a:buClr>
                <a:buFont typeface="Wingdings" panose="05000000000000000000" pitchFamily="2" charset="2"/>
                <a:buNone/>
                <a:defRPr sz="2000">
                  <a:latin typeface="楷体" panose="02010609060101010101" pitchFamily="49" charset="-122"/>
                  <a:ea typeface="楷体" panose="02010609060101010101" pitchFamily="49" charset="-122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urbine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圆角矩形 631">
              <a:extLst>
                <a:ext uri="{FF2B5EF4-FFF2-40B4-BE49-F238E27FC236}">
                  <a16:creationId xmlns:a16="http://schemas.microsoft.com/office/drawing/2014/main" id="{1054AE2D-1DCA-4FF3-A8FA-BCF359290070}"/>
                </a:ext>
              </a:extLst>
            </p:cNvPr>
            <p:cNvSpPr/>
            <p:nvPr/>
          </p:nvSpPr>
          <p:spPr>
            <a:xfrm>
              <a:off x="1881189" y="1648933"/>
              <a:ext cx="3740150" cy="4501931"/>
            </a:xfrm>
            <a:prstGeom prst="roundRect">
              <a:avLst/>
            </a:prstGeom>
            <a:noFill/>
            <a:ln w="38100">
              <a:solidFill>
                <a:srgbClr val="0070C0"/>
              </a:solidFill>
              <a:prstDash val="solid"/>
              <a:miter lim="800000"/>
              <a:headEnd/>
              <a:tailEnd/>
            </a:ln>
          </p:spPr>
          <p:txBody>
            <a:bodyPr anchor="ctr" anchorCtr="0"/>
            <a:lstStyle/>
            <a:p>
              <a:pPr algn="ctr" eaLnBrk="0" hangingPunct="0"/>
              <a:endParaRPr lang="zh-CN" altLang="en-US" sz="20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1" name="圆角矩形 632">
              <a:extLst>
                <a:ext uri="{FF2B5EF4-FFF2-40B4-BE49-F238E27FC236}">
                  <a16:creationId xmlns:a16="http://schemas.microsoft.com/office/drawing/2014/main" id="{A92D8BC3-6987-4E63-A186-75E22DF0732C}"/>
                </a:ext>
              </a:extLst>
            </p:cNvPr>
            <p:cNvSpPr/>
            <p:nvPr/>
          </p:nvSpPr>
          <p:spPr>
            <a:xfrm>
              <a:off x="7694652" y="1648933"/>
              <a:ext cx="3740150" cy="4501931"/>
            </a:xfrm>
            <a:prstGeom prst="roundRect">
              <a:avLst/>
            </a:prstGeom>
            <a:noFill/>
            <a:ln w="38100">
              <a:solidFill>
                <a:srgbClr val="0070C0"/>
              </a:solidFill>
              <a:prstDash val="solid"/>
              <a:miter lim="800000"/>
              <a:headEnd/>
              <a:tailEnd/>
            </a:ln>
          </p:spPr>
          <p:txBody>
            <a:bodyPr anchor="ctr" anchorCtr="0"/>
            <a:lstStyle/>
            <a:p>
              <a:pPr algn="ctr" eaLnBrk="0" hangingPunct="0"/>
              <a:endParaRPr lang="zh-CN" altLang="en-US" sz="20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2" name="圆角矩形 633">
              <a:extLst>
                <a:ext uri="{FF2B5EF4-FFF2-40B4-BE49-F238E27FC236}">
                  <a16:creationId xmlns:a16="http://schemas.microsoft.com/office/drawing/2014/main" id="{C713B2D0-28F1-4892-870F-CCC6C542A34D}"/>
                </a:ext>
              </a:extLst>
            </p:cNvPr>
            <p:cNvSpPr/>
            <p:nvPr/>
          </p:nvSpPr>
          <p:spPr>
            <a:xfrm>
              <a:off x="1877463" y="1643492"/>
              <a:ext cx="3740150" cy="463998"/>
            </a:xfrm>
            <a:prstGeom prst="roundRect">
              <a:avLst/>
            </a:prstGeom>
            <a:noFill/>
            <a:ln w="38100">
              <a:noFill/>
              <a:prstDash val="solid"/>
              <a:miter lim="800000"/>
              <a:headEnd/>
              <a:tailEnd/>
            </a:ln>
          </p:spPr>
          <p:txBody>
            <a:bodyPr anchor="ctr" anchorCtr="0"/>
            <a:lstStyle/>
            <a:p>
              <a:pPr algn="ctr" eaLnBrk="0" hangingPunct="0"/>
              <a:r>
                <a:rPr lang="en-US" altLang="zh-CN" sz="2000" b="1" dirty="0">
                  <a:latin typeface="Times New Roman" panose="0202060305040502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Power-supply side</a:t>
              </a:r>
              <a:endParaRPr lang="zh-CN" altLang="en-US" sz="20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3" name="圆角矩形 634">
              <a:extLst>
                <a:ext uri="{FF2B5EF4-FFF2-40B4-BE49-F238E27FC236}">
                  <a16:creationId xmlns:a16="http://schemas.microsoft.com/office/drawing/2014/main" id="{BA43E067-B657-4A63-B577-F84D3E8523A9}"/>
                </a:ext>
              </a:extLst>
            </p:cNvPr>
            <p:cNvSpPr/>
            <p:nvPr/>
          </p:nvSpPr>
          <p:spPr>
            <a:xfrm>
              <a:off x="7690926" y="1649072"/>
              <a:ext cx="3740150" cy="463998"/>
            </a:xfrm>
            <a:prstGeom prst="roundRect">
              <a:avLst/>
            </a:prstGeom>
            <a:noFill/>
            <a:ln w="38100">
              <a:noFill/>
              <a:prstDash val="solid"/>
              <a:miter lim="800000"/>
              <a:headEnd/>
              <a:tailEnd/>
            </a:ln>
          </p:spPr>
          <p:txBody>
            <a:bodyPr anchor="ctr" anchorCtr="0"/>
            <a:lstStyle/>
            <a:p>
              <a:pPr algn="ctr" eaLnBrk="0" hangingPunct="0"/>
              <a:r>
                <a:rPr lang="en-US" altLang="zh-CN" sz="2000" b="1" dirty="0">
                  <a:latin typeface="Times New Roman" panose="0202060305040502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Power-demand side</a:t>
              </a:r>
              <a:endParaRPr lang="zh-CN" altLang="en-US" sz="20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34" name="图示 33">
              <a:extLst>
                <a:ext uri="{FF2B5EF4-FFF2-40B4-BE49-F238E27FC236}">
                  <a16:creationId xmlns:a16="http://schemas.microsoft.com/office/drawing/2014/main" id="{63F66413-0818-4C65-AAD8-7D3BAAE6736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6642262"/>
                </p:ext>
              </p:extLst>
            </p:nvPr>
          </p:nvGraphicFramePr>
          <p:xfrm>
            <a:off x="4849507" y="1087868"/>
            <a:ext cx="3636984" cy="269722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3" r:lo="rId14" r:qs="rId15" r:cs="rId16"/>
            </a:graphicData>
          </a:graphic>
        </p:graphicFrame>
        <p:sp>
          <p:nvSpPr>
            <p:cNvPr id="35" name="Freeform 516">
              <a:extLst>
                <a:ext uri="{FF2B5EF4-FFF2-40B4-BE49-F238E27FC236}">
                  <a16:creationId xmlns:a16="http://schemas.microsoft.com/office/drawing/2014/main" id="{000BA4BD-3994-4867-B948-6708EDC95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612" y="4994529"/>
              <a:ext cx="368133" cy="583535"/>
            </a:xfrm>
            <a:custGeom>
              <a:avLst/>
              <a:gdLst>
                <a:gd name="T0" fmla="*/ 90 w 160"/>
                <a:gd name="T1" fmla="*/ 144 h 146"/>
                <a:gd name="T2" fmla="*/ 74 w 160"/>
                <a:gd name="T3" fmla="*/ 142 h 146"/>
                <a:gd name="T4" fmla="*/ 0 w 160"/>
                <a:gd name="T5" fmla="*/ 1 h 146"/>
                <a:gd name="T6" fmla="*/ 3 w 160"/>
                <a:gd name="T7" fmla="*/ 0 h 146"/>
                <a:gd name="T8" fmla="*/ 75 w 160"/>
                <a:gd name="T9" fmla="*/ 138 h 146"/>
                <a:gd name="T10" fmla="*/ 158 w 160"/>
                <a:gd name="T11" fmla="*/ 104 h 146"/>
                <a:gd name="T12" fmla="*/ 160 w 160"/>
                <a:gd name="T13" fmla="*/ 107 h 146"/>
                <a:gd name="T14" fmla="*/ 90 w 160"/>
                <a:gd name="T15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146">
                  <a:moveTo>
                    <a:pt x="90" y="144"/>
                  </a:moveTo>
                  <a:cubicBezTo>
                    <a:pt x="85" y="144"/>
                    <a:pt x="79" y="143"/>
                    <a:pt x="74" y="142"/>
                  </a:cubicBezTo>
                  <a:cubicBezTo>
                    <a:pt x="17" y="122"/>
                    <a:pt x="1" y="6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20" y="120"/>
                    <a:pt x="75" y="138"/>
                  </a:cubicBezTo>
                  <a:cubicBezTo>
                    <a:pt x="99" y="146"/>
                    <a:pt x="127" y="135"/>
                    <a:pt x="158" y="104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132"/>
                    <a:pt x="111" y="144"/>
                    <a:pt x="90" y="14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圆角矩形 636">
              <a:extLst>
                <a:ext uri="{FF2B5EF4-FFF2-40B4-BE49-F238E27FC236}">
                  <a16:creationId xmlns:a16="http://schemas.microsoft.com/office/drawing/2014/main" id="{CBF04F59-3432-4ACA-996E-CC0730481D70}"/>
                </a:ext>
              </a:extLst>
            </p:cNvPr>
            <p:cNvSpPr/>
            <p:nvPr/>
          </p:nvSpPr>
          <p:spPr>
            <a:xfrm>
              <a:off x="5710094" y="2042957"/>
              <a:ext cx="1954713" cy="540247"/>
            </a:xfrm>
            <a:prstGeom prst="roundRect">
              <a:avLst/>
            </a:prstGeom>
            <a:noFill/>
            <a:ln w="38100">
              <a:noFill/>
              <a:prstDash val="solid"/>
              <a:miter lim="800000"/>
              <a:headEnd/>
              <a:tailEnd/>
            </a:ln>
          </p:spPr>
          <p:txBody>
            <a:bodyPr anchor="ctr" anchorCtr="0"/>
            <a:lstStyle/>
            <a:p>
              <a:pPr algn="ctr" eaLnBrk="0" hangingPunct="0"/>
              <a:r>
                <a:rPr lang="en-US" altLang="zh-CN" sz="2000" b="1" dirty="0">
                  <a:latin typeface="Times New Roman" panose="0202060305040502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Cooperative control</a:t>
              </a:r>
              <a:endParaRPr lang="zh-CN" altLang="en-US" sz="20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0319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16588"/>
          <a:stretch/>
        </p:blipFill>
        <p:spPr>
          <a:xfrm>
            <a:off x="1168082" y="955040"/>
            <a:ext cx="10363200" cy="6126480"/>
          </a:xfrm>
          <a:prstGeom prst="rect">
            <a:avLst/>
          </a:prstGeom>
        </p:spPr>
      </p:pic>
      <p:sp>
        <p:nvSpPr>
          <p:cNvPr id="17" name="矩形标注 16"/>
          <p:cNvSpPr/>
          <p:nvPr/>
        </p:nvSpPr>
        <p:spPr>
          <a:xfrm>
            <a:off x="2726503" y="1160780"/>
            <a:ext cx="3129920" cy="1722896"/>
          </a:xfrm>
          <a:prstGeom prst="wedgeRectCallout">
            <a:avLst>
              <a:gd name="adj1" fmla="val 4742"/>
              <a:gd name="adj2" fmla="val 6795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pstr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optimal schedul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rnet of Th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g data and artificial intelligence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 Charging st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 devices</a:t>
            </a:r>
            <a:endParaRPr lang="zh-CN" altLang="en-US" sz="1600" dirty="0"/>
          </a:p>
        </p:txBody>
      </p:sp>
      <p:sp>
        <p:nvSpPr>
          <p:cNvPr id="18" name="矩形标注 17"/>
          <p:cNvSpPr/>
          <p:nvPr/>
        </p:nvSpPr>
        <p:spPr>
          <a:xfrm>
            <a:off x="3195012" y="4041760"/>
            <a:ext cx="3220622" cy="1024261"/>
          </a:xfrm>
          <a:prstGeom prst="wedgeRectCallout">
            <a:avLst>
              <a:gd name="adj1" fmla="val 59798"/>
              <a:gd name="adj2" fmla="val -4434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-saving equip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truction of zero-carbon ho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drogen fuel cell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标注 18"/>
          <p:cNvSpPr/>
          <p:nvPr/>
        </p:nvSpPr>
        <p:spPr>
          <a:xfrm>
            <a:off x="7020768" y="6030045"/>
            <a:ext cx="2884190" cy="742069"/>
          </a:xfrm>
          <a:prstGeom prst="wedgeRectCallout">
            <a:avLst>
              <a:gd name="adj1" fmla="val -8317"/>
              <a:gd name="adj2" fmla="val -9010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wn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distinctive tow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ypical application scenarios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856423" y="1160780"/>
            <a:ext cx="1626096" cy="1722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3" name="Picture 8" descr="http://g.hiphotos.baidu.com/baike/w%3D268/sign=af582aa1b90e7bec23da04e7172fb9fa/ca1349540923dd54c01799c6d009b3de9c8248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550" y="1247691"/>
            <a:ext cx="589589" cy="58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1739642" y="4054262"/>
            <a:ext cx="1455371" cy="1011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972" y="4116491"/>
            <a:ext cx="568684" cy="35249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82" r="27186" b="32849"/>
          <a:stretch/>
        </p:blipFill>
        <p:spPr>
          <a:xfrm>
            <a:off x="2443186" y="4166731"/>
            <a:ext cx="675616" cy="28320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9904959" y="6030045"/>
            <a:ext cx="1455371" cy="74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41" b="26794"/>
          <a:stretch/>
        </p:blipFill>
        <p:spPr>
          <a:xfrm>
            <a:off x="9951338" y="6408975"/>
            <a:ext cx="983612" cy="25675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74" y="6092840"/>
            <a:ext cx="1270138" cy="209748"/>
          </a:xfrm>
          <a:prstGeom prst="rect">
            <a:avLst/>
          </a:prstGeom>
        </p:spPr>
      </p:pic>
      <p:pic>
        <p:nvPicPr>
          <p:cNvPr id="3074" name="Picture 2" descr="Image result for æ¯äºè¿ª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75" y="2031546"/>
            <a:ext cx="570274" cy="35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ä¸­å½ç§»å¨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231" y="1960535"/>
            <a:ext cx="670978" cy="47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å½å®¶çµç½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3" y="1249703"/>
            <a:ext cx="590143" cy="587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ç»¿åæ¿å°äº§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22" b="30469"/>
          <a:stretch/>
        </p:blipFill>
        <p:spPr bwMode="auto">
          <a:xfrm>
            <a:off x="1807193" y="4632570"/>
            <a:ext cx="754243" cy="21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5487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42"/>
          <p:cNvSpPr/>
          <p:nvPr/>
        </p:nvSpPr>
        <p:spPr>
          <a:xfrm>
            <a:off x="7614763" y="1236520"/>
            <a:ext cx="1354538" cy="11009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3" name="矩形 40"/>
          <p:cNvSpPr/>
          <p:nvPr/>
        </p:nvSpPr>
        <p:spPr>
          <a:xfrm>
            <a:off x="6606426" y="4351672"/>
            <a:ext cx="4151704" cy="274196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4" name="矩形 51"/>
          <p:cNvSpPr/>
          <p:nvPr/>
        </p:nvSpPr>
        <p:spPr>
          <a:xfrm>
            <a:off x="1917808" y="5022200"/>
            <a:ext cx="4034257" cy="1502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5" name="矩形 61"/>
          <p:cNvSpPr/>
          <p:nvPr/>
        </p:nvSpPr>
        <p:spPr>
          <a:xfrm>
            <a:off x="1917808" y="3149993"/>
            <a:ext cx="4037327" cy="15654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6" name="矩形 42"/>
          <p:cNvSpPr/>
          <p:nvPr/>
        </p:nvSpPr>
        <p:spPr>
          <a:xfrm>
            <a:off x="6600330" y="2639426"/>
            <a:ext cx="4151704" cy="1333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7" name="矩形 8"/>
          <p:cNvSpPr/>
          <p:nvPr/>
        </p:nvSpPr>
        <p:spPr>
          <a:xfrm>
            <a:off x="6149300" y="1028809"/>
            <a:ext cx="60811" cy="577077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8" name="矩形 9"/>
          <p:cNvSpPr/>
          <p:nvPr/>
        </p:nvSpPr>
        <p:spPr>
          <a:xfrm>
            <a:off x="8043062" y="3398911"/>
            <a:ext cx="524223" cy="59576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0" name="矩形 81"/>
          <p:cNvSpPr/>
          <p:nvPr/>
        </p:nvSpPr>
        <p:spPr>
          <a:xfrm>
            <a:off x="9738755" y="3149258"/>
            <a:ext cx="875545" cy="541593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1" name="文本框 79"/>
          <p:cNvSpPr txBox="1"/>
          <p:nvPr/>
        </p:nvSpPr>
        <p:spPr>
          <a:xfrm>
            <a:off x="9565034" y="2885042"/>
            <a:ext cx="11122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V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2" name="矩形 11"/>
          <p:cNvSpPr/>
          <p:nvPr/>
        </p:nvSpPr>
        <p:spPr>
          <a:xfrm>
            <a:off x="9392771" y="3395599"/>
            <a:ext cx="340857" cy="628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3" name="文本框 14"/>
          <p:cNvSpPr txBox="1"/>
          <p:nvPr/>
        </p:nvSpPr>
        <p:spPr>
          <a:xfrm rot="16200000">
            <a:off x="5159369" y="2350488"/>
            <a:ext cx="16810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5" name="矩形 76"/>
          <p:cNvSpPr/>
          <p:nvPr/>
        </p:nvSpPr>
        <p:spPr>
          <a:xfrm>
            <a:off x="8543223" y="3105791"/>
            <a:ext cx="844420" cy="639744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6" name="文本框 77"/>
          <p:cNvSpPr txBox="1"/>
          <p:nvPr/>
        </p:nvSpPr>
        <p:spPr>
          <a:xfrm>
            <a:off x="8368954" y="2885042"/>
            <a:ext cx="1089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vert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7" name="矩形 16"/>
          <p:cNvSpPr/>
          <p:nvPr/>
        </p:nvSpPr>
        <p:spPr>
          <a:xfrm>
            <a:off x="6199651" y="1801728"/>
            <a:ext cx="1415112" cy="81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8" name="文本框 17"/>
          <p:cNvSpPr txBox="1"/>
          <p:nvPr/>
        </p:nvSpPr>
        <p:spPr>
          <a:xfrm>
            <a:off x="7701632" y="1028809"/>
            <a:ext cx="1171315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ower gener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49" name="图片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978" y="1589583"/>
            <a:ext cx="764620" cy="669393"/>
          </a:xfrm>
          <a:prstGeom prst="rect">
            <a:avLst/>
          </a:prstGeom>
        </p:spPr>
      </p:pic>
      <p:pic>
        <p:nvPicPr>
          <p:cNvPr id="50" name="Picture 6" descr="http://www.tacticalshit.com/wp-content/uploads/2015/05/tesla-900x4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644" y="3186921"/>
            <a:ext cx="1030382" cy="43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矩形 20"/>
          <p:cNvSpPr/>
          <p:nvPr/>
        </p:nvSpPr>
        <p:spPr>
          <a:xfrm>
            <a:off x="6970009" y="3179076"/>
            <a:ext cx="1054393" cy="44323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2" name="矩形 21"/>
          <p:cNvSpPr/>
          <p:nvPr/>
        </p:nvSpPr>
        <p:spPr>
          <a:xfrm>
            <a:off x="6192176" y="3407928"/>
            <a:ext cx="756944" cy="644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3" name="文本框 22"/>
          <p:cNvSpPr txBox="1"/>
          <p:nvPr/>
        </p:nvSpPr>
        <p:spPr>
          <a:xfrm>
            <a:off x="6767096" y="2885042"/>
            <a:ext cx="1351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Lithium batterie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54" name="Picture 9" descr="http://www.touchscreen-me.com/images/products/overlay/overlay_inst1_pq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80" y="4721680"/>
            <a:ext cx="933656" cy="5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74"/>
          <p:cNvSpPr/>
          <p:nvPr/>
        </p:nvSpPr>
        <p:spPr>
          <a:xfrm>
            <a:off x="6969310" y="4692500"/>
            <a:ext cx="964659" cy="611448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56" name="Picture 11" descr="http://images.3158.cn/data/attachment/jiaju/article/2013/05/13/d3715fb1d5f39815e0d460b58ba8526f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32813" y="4730747"/>
            <a:ext cx="707828" cy="56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3" descr="http://files.gao7.com/Files/2012/12/06/20121206053042103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824" y="4721679"/>
            <a:ext cx="1249260" cy="56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矩形 26"/>
          <p:cNvSpPr/>
          <p:nvPr/>
        </p:nvSpPr>
        <p:spPr>
          <a:xfrm>
            <a:off x="8199734" y="4703821"/>
            <a:ext cx="774467" cy="609042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9" name="矩形 27"/>
          <p:cNvSpPr/>
          <p:nvPr/>
        </p:nvSpPr>
        <p:spPr>
          <a:xfrm>
            <a:off x="9245458" y="4701053"/>
            <a:ext cx="1310143" cy="602895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0" name="矩形 69"/>
          <p:cNvSpPr/>
          <p:nvPr/>
        </p:nvSpPr>
        <p:spPr>
          <a:xfrm>
            <a:off x="6212517" y="5537946"/>
            <a:ext cx="3520284" cy="77103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1" name="矩形 70"/>
          <p:cNvSpPr/>
          <p:nvPr/>
        </p:nvSpPr>
        <p:spPr>
          <a:xfrm rot="16200000">
            <a:off x="7322414" y="5390381"/>
            <a:ext cx="231303" cy="73452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2" name="矩形 71"/>
          <p:cNvSpPr/>
          <p:nvPr/>
        </p:nvSpPr>
        <p:spPr>
          <a:xfrm rot="16200000">
            <a:off x="8482735" y="5388344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3" name="矩形 72"/>
          <p:cNvSpPr/>
          <p:nvPr/>
        </p:nvSpPr>
        <p:spPr>
          <a:xfrm rot="16200000">
            <a:off x="9594866" y="5396391"/>
            <a:ext cx="217475" cy="5839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4" name="文本框 29"/>
          <p:cNvSpPr txBox="1"/>
          <p:nvPr/>
        </p:nvSpPr>
        <p:spPr>
          <a:xfrm>
            <a:off x="6773192" y="4423679"/>
            <a:ext cx="13739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Video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5" name="文本框 30"/>
          <p:cNvSpPr txBox="1"/>
          <p:nvPr/>
        </p:nvSpPr>
        <p:spPr>
          <a:xfrm>
            <a:off x="8008657" y="4436310"/>
            <a:ext cx="11516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curtain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6" name="文本框 31"/>
          <p:cNvSpPr txBox="1"/>
          <p:nvPr/>
        </p:nvSpPr>
        <p:spPr>
          <a:xfrm>
            <a:off x="9160337" y="4436310"/>
            <a:ext cx="14600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light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7" name="矩形 32"/>
          <p:cNvSpPr/>
          <p:nvPr/>
        </p:nvSpPr>
        <p:spPr>
          <a:xfrm>
            <a:off x="6212519" y="6725096"/>
            <a:ext cx="3817499" cy="683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8" name="矩形 33"/>
          <p:cNvSpPr/>
          <p:nvPr/>
        </p:nvSpPr>
        <p:spPr>
          <a:xfrm rot="16200000">
            <a:off x="8027259" y="6599394"/>
            <a:ext cx="251120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9" name="矩形 34"/>
          <p:cNvSpPr/>
          <p:nvPr/>
        </p:nvSpPr>
        <p:spPr>
          <a:xfrm rot="16200000">
            <a:off x="8870440" y="6590126"/>
            <a:ext cx="221346" cy="5120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0" name="矩形 35"/>
          <p:cNvSpPr/>
          <p:nvPr/>
        </p:nvSpPr>
        <p:spPr>
          <a:xfrm rot="16200000">
            <a:off x="9885980" y="6577440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1" name="Picture 16" descr="http://www.yipinzhilian.com/images/201512/goods_img/3_G_145006190425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555" y="6079509"/>
            <a:ext cx="525016" cy="41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矩形 68"/>
          <p:cNvSpPr/>
          <p:nvPr/>
        </p:nvSpPr>
        <p:spPr>
          <a:xfrm>
            <a:off x="8755905" y="6075325"/>
            <a:ext cx="475222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3" name="矩形 66"/>
          <p:cNvSpPr/>
          <p:nvPr/>
        </p:nvSpPr>
        <p:spPr>
          <a:xfrm>
            <a:off x="7660548" y="6066808"/>
            <a:ext cx="721150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4" name="Picture 18" descr="https://encrypted-tbn0.gstatic.com/images?q=tbn:ANd9GcTbGVBIsps26OZeaHhOckCmH44J-RQx7YZJchAaM8Qvxgip0EeI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5069" r="-2597" b="25202"/>
          <a:stretch/>
        </p:blipFill>
        <p:spPr bwMode="auto">
          <a:xfrm>
            <a:off x="9642084" y="6113867"/>
            <a:ext cx="754769" cy="373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矩形 64"/>
          <p:cNvSpPr/>
          <p:nvPr/>
        </p:nvSpPr>
        <p:spPr>
          <a:xfrm>
            <a:off x="9623032" y="6075326"/>
            <a:ext cx="759423" cy="42867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6" name="文本框 39"/>
          <p:cNvSpPr txBox="1"/>
          <p:nvPr/>
        </p:nvSpPr>
        <p:spPr>
          <a:xfrm>
            <a:off x="8452515" y="5786866"/>
            <a:ext cx="2237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security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77" name="文本框 41"/>
          <p:cNvSpPr txBox="1"/>
          <p:nvPr/>
        </p:nvSpPr>
        <p:spPr>
          <a:xfrm>
            <a:off x="7909712" y="6954993"/>
            <a:ext cx="1649314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Smart home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8" name="文本框 43"/>
          <p:cNvSpPr txBox="1"/>
          <p:nvPr/>
        </p:nvSpPr>
        <p:spPr>
          <a:xfrm>
            <a:off x="7599595" y="2514672"/>
            <a:ext cx="2025358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V and battery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grpSp>
        <p:nvGrpSpPr>
          <p:cNvPr id="79" name="组合 94"/>
          <p:cNvGrpSpPr/>
          <p:nvPr/>
        </p:nvGrpSpPr>
        <p:grpSpPr>
          <a:xfrm>
            <a:off x="4462220" y="5114630"/>
            <a:ext cx="1062230" cy="868802"/>
            <a:chOff x="4139373" y="4700769"/>
            <a:chExt cx="980224" cy="873490"/>
          </a:xfrm>
        </p:grpSpPr>
        <p:pic>
          <p:nvPicPr>
            <p:cNvPr id="80" name="图片 4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51503" y="4710222"/>
              <a:ext cx="968093" cy="854583"/>
            </a:xfrm>
            <a:prstGeom prst="rect">
              <a:avLst/>
            </a:prstGeom>
          </p:spPr>
        </p:pic>
        <p:sp>
          <p:nvSpPr>
            <p:cNvPr id="81" name="矩形 46"/>
            <p:cNvSpPr/>
            <p:nvPr/>
          </p:nvSpPr>
          <p:spPr>
            <a:xfrm>
              <a:off x="4139373" y="4700769"/>
              <a:ext cx="980224" cy="873490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82" name="矩形 48"/>
          <p:cNvSpPr/>
          <p:nvPr/>
        </p:nvSpPr>
        <p:spPr>
          <a:xfrm>
            <a:off x="2996188" y="4574405"/>
            <a:ext cx="3141567" cy="4547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3" name="矩形 49"/>
          <p:cNvSpPr/>
          <p:nvPr/>
        </p:nvSpPr>
        <p:spPr>
          <a:xfrm rot="16200000">
            <a:off x="3431871" y="4375707"/>
            <a:ext cx="395889" cy="4571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4" name="矩形 50"/>
          <p:cNvSpPr/>
          <p:nvPr/>
        </p:nvSpPr>
        <p:spPr>
          <a:xfrm rot="16200000">
            <a:off x="5136854" y="6113502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5" name="文本框 52"/>
          <p:cNvSpPr txBox="1"/>
          <p:nvPr/>
        </p:nvSpPr>
        <p:spPr>
          <a:xfrm>
            <a:off x="1292802" y="5331187"/>
            <a:ext cx="1287172" cy="830997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Large-scale power consumption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6" name="文本框 54"/>
          <p:cNvSpPr txBox="1"/>
          <p:nvPr/>
        </p:nvSpPr>
        <p:spPr>
          <a:xfrm>
            <a:off x="3891715" y="6031378"/>
            <a:ext cx="13872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imulation serv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87" name="组合 92"/>
          <p:cNvGrpSpPr/>
          <p:nvPr/>
        </p:nvGrpSpPr>
        <p:grpSpPr>
          <a:xfrm>
            <a:off x="4492057" y="3270038"/>
            <a:ext cx="1167236" cy="897760"/>
            <a:chOff x="3995872" y="3152043"/>
            <a:chExt cx="1291043" cy="1108398"/>
          </a:xfrm>
        </p:grpSpPr>
        <p:pic>
          <p:nvPicPr>
            <p:cNvPr id="88" name="图片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75910" y="3175480"/>
              <a:ext cx="1211005" cy="1051790"/>
            </a:xfrm>
            <a:prstGeom prst="rect">
              <a:avLst/>
            </a:prstGeom>
          </p:spPr>
        </p:pic>
        <p:sp>
          <p:nvSpPr>
            <p:cNvPr id="89" name="矩形 56"/>
            <p:cNvSpPr/>
            <p:nvPr/>
          </p:nvSpPr>
          <p:spPr>
            <a:xfrm>
              <a:off x="3995872" y="3152043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90" name="文本框 57"/>
          <p:cNvSpPr txBox="1"/>
          <p:nvPr/>
        </p:nvSpPr>
        <p:spPr>
          <a:xfrm>
            <a:off x="3979192" y="4159266"/>
            <a:ext cx="1257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Electricity price broadcast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91" name="文本框 59"/>
          <p:cNvSpPr txBox="1"/>
          <p:nvPr/>
        </p:nvSpPr>
        <p:spPr>
          <a:xfrm>
            <a:off x="2180937" y="4181203"/>
            <a:ext cx="1422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ower generation simulation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92" name="组合 91"/>
          <p:cNvGrpSpPr/>
          <p:nvPr/>
        </p:nvGrpSpPr>
        <p:grpSpPr>
          <a:xfrm>
            <a:off x="2758235" y="3212605"/>
            <a:ext cx="1489919" cy="978067"/>
            <a:chOff x="2413800" y="3094417"/>
            <a:chExt cx="1549894" cy="1173123"/>
          </a:xfrm>
        </p:grpSpPr>
        <p:sp>
          <p:nvSpPr>
            <p:cNvPr id="93" name="矩形 58"/>
            <p:cNvSpPr/>
            <p:nvPr/>
          </p:nvSpPr>
          <p:spPr>
            <a:xfrm>
              <a:off x="2526436" y="3152151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  <p:pic>
          <p:nvPicPr>
            <p:cNvPr id="94" name="Picture 28" descr="http://www.idc.sd.cn/images/aa/20120830015615324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3800" y="3094417"/>
              <a:ext cx="1549894" cy="1173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文本框 62"/>
          <p:cNvSpPr txBox="1"/>
          <p:nvPr/>
        </p:nvSpPr>
        <p:spPr>
          <a:xfrm>
            <a:off x="1309716" y="3571382"/>
            <a:ext cx="1287172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Electricity price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6" name="矩形 93"/>
          <p:cNvSpPr/>
          <p:nvPr/>
        </p:nvSpPr>
        <p:spPr>
          <a:xfrm rot="16200000">
            <a:off x="5061897" y="4354687"/>
            <a:ext cx="421784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7" name="矩形 97"/>
          <p:cNvSpPr/>
          <p:nvPr/>
        </p:nvSpPr>
        <p:spPr>
          <a:xfrm>
            <a:off x="2738242" y="6296749"/>
            <a:ext cx="3399513" cy="660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8" name="文本框 14"/>
          <p:cNvSpPr txBox="1"/>
          <p:nvPr/>
        </p:nvSpPr>
        <p:spPr>
          <a:xfrm>
            <a:off x="7782470" y="5575807"/>
            <a:ext cx="1419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99" name="图片 9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70032" y="6082180"/>
            <a:ext cx="702183" cy="382700"/>
          </a:xfrm>
          <a:prstGeom prst="rect">
            <a:avLst/>
          </a:prstGeom>
        </p:spPr>
      </p:pic>
      <p:sp>
        <p:nvSpPr>
          <p:cNvPr id="100" name="文本框 39"/>
          <p:cNvSpPr txBox="1"/>
          <p:nvPr/>
        </p:nvSpPr>
        <p:spPr>
          <a:xfrm>
            <a:off x="7349117" y="5810005"/>
            <a:ext cx="13475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Air clean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102" name="文本框 14"/>
          <p:cNvSpPr txBox="1"/>
          <p:nvPr/>
        </p:nvSpPr>
        <p:spPr>
          <a:xfrm>
            <a:off x="6218131" y="1882891"/>
            <a:ext cx="1419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Outside electric line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7849" r="7865" b="651"/>
          <a:stretch/>
        </p:blipFill>
        <p:spPr>
          <a:xfrm>
            <a:off x="8550396" y="3121110"/>
            <a:ext cx="827603" cy="611794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935" b="89984" l="3210" r="899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735" y="6226796"/>
            <a:ext cx="1331029" cy="998271"/>
          </a:xfrm>
          <a:prstGeom prst="rect">
            <a:avLst/>
          </a:prstGeom>
        </p:spPr>
      </p:pic>
      <p:pic>
        <p:nvPicPr>
          <p:cNvPr id="1028" name="Picture 4" descr="https://timgsa.baidu.com/timg?image&amp;quality=80&amp;size=b9999_10000&amp;sec=1566164169505&amp;di=1dbd0f238b5bbe574c41403a253bb512&amp;imgtype=0&amp;src=http%3A%2F%2Fs9.rr.itc.cn%2Fr%2FwapChange%2F20169_27_16%2Fa4vtd200155757573596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38" b="13382"/>
          <a:stretch/>
        </p:blipFill>
        <p:spPr bwMode="auto">
          <a:xfrm>
            <a:off x="9753527" y="3158114"/>
            <a:ext cx="860773" cy="5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矩形 50"/>
          <p:cNvSpPr/>
          <p:nvPr/>
        </p:nvSpPr>
        <p:spPr>
          <a:xfrm rot="16200000">
            <a:off x="3391351" y="6179597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105" name="图片 104">
            <a:extLst>
              <a:ext uri="{FF2B5EF4-FFF2-40B4-BE49-F238E27FC236}">
                <a16:creationId xmlns:a16="http://schemas.microsoft.com/office/drawing/2014/main" id="{3EE735B8-4D81-4FAD-9899-F274FA22EAD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38242" y="5121314"/>
            <a:ext cx="1251411" cy="9348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7" name="文本框 54"/>
          <p:cNvSpPr txBox="1"/>
          <p:nvPr/>
        </p:nvSpPr>
        <p:spPr>
          <a:xfrm>
            <a:off x="2758235" y="6079385"/>
            <a:ext cx="802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terface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b="9080"/>
          <a:stretch/>
        </p:blipFill>
        <p:spPr>
          <a:xfrm>
            <a:off x="1309716" y="802807"/>
            <a:ext cx="4196666" cy="218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31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图片 100"/>
          <p:cNvPicPr>
            <a:picLocks noChangeAspect="1"/>
          </p:cNvPicPr>
          <p:nvPr/>
        </p:nvPicPr>
        <p:blipFill rotWithShape="1">
          <a:blip r:embed="rId2"/>
          <a:srcRect l="10302"/>
          <a:stretch/>
        </p:blipFill>
        <p:spPr>
          <a:xfrm>
            <a:off x="2623503" y="1054378"/>
            <a:ext cx="6766559" cy="6017806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3896042" y="2745740"/>
            <a:ext cx="5410518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   EVs                  Heat pumps         Air conditioners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5263831" y="1054378"/>
            <a:ext cx="2385061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flexible load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4953315" y="6563638"/>
            <a:ext cx="3173732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renewable energie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3812220" y="6169114"/>
            <a:ext cx="5288281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Wind                           PV                     Geothermal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4869493" y="3873778"/>
            <a:ext cx="3173732" cy="4493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Power system peak-shaving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15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44" descr="4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"/>
          <a:stretch/>
        </p:blipFill>
        <p:spPr bwMode="auto">
          <a:xfrm>
            <a:off x="2086686" y="777353"/>
            <a:ext cx="8186106" cy="3112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45" descr="3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21" y="3989019"/>
            <a:ext cx="8141681" cy="311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>
            <a:off x="2063722" y="777354"/>
            <a:ext cx="8209072" cy="27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A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063721" y="3989018"/>
            <a:ext cx="8141682" cy="2731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B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090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7"/>
          <a:stretch/>
        </p:blipFill>
        <p:spPr bwMode="auto">
          <a:xfrm>
            <a:off x="7415288" y="4569910"/>
            <a:ext cx="4532554" cy="1732058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7324531" y="1239874"/>
            <a:ext cx="4812973" cy="2960476"/>
            <a:chOff x="9689354" y="-1910119"/>
            <a:chExt cx="8327913" cy="4877260"/>
          </a:xfrm>
        </p:grpSpPr>
        <p:sp>
          <p:nvSpPr>
            <p:cNvPr id="49" name="Rectangle 11"/>
            <p:cNvSpPr>
              <a:spLocks noChangeArrowheads="1"/>
            </p:cNvSpPr>
            <p:nvPr/>
          </p:nvSpPr>
          <p:spPr bwMode="auto">
            <a:xfrm>
              <a:off x="9692341" y="-1910119"/>
              <a:ext cx="2597195" cy="4056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erve Capacity (RC)</a:t>
              </a: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23207" y="-1206735"/>
              <a:ext cx="4165755" cy="2639796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aphicFrame>
          <p:nvGraphicFramePr>
            <p:cNvPr id="51" name="对象 5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94945527"/>
                </p:ext>
              </p:extLst>
            </p:nvPr>
          </p:nvGraphicFramePr>
          <p:xfrm>
            <a:off x="9911408" y="-1493153"/>
            <a:ext cx="1933575" cy="361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2" name="Equation" r:id="rId5" imgW="1244600" imgH="228600" progId="Equation.DSMT4">
                    <p:embed/>
                  </p:oleObj>
                </mc:Choice>
                <mc:Fallback>
                  <p:oleObj name="Equation" r:id="rId5" imgW="12446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911408" y="-1493153"/>
                          <a:ext cx="1933575" cy="361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2" name="矩形 51"/>
            <p:cNvSpPr/>
            <p:nvPr/>
          </p:nvSpPr>
          <p:spPr>
            <a:xfrm>
              <a:off x="9689354" y="1519600"/>
              <a:ext cx="2783440" cy="405639"/>
            </a:xfrm>
            <a:prstGeom prst="rect">
              <a:avLst/>
            </a:prstGeom>
            <a:solidFill>
              <a:srgbClr val="0CA43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ponse Time (R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15637552" y="1515193"/>
              <a:ext cx="2373875" cy="40563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Duration Time (D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15896011" y="-1891966"/>
              <a:ext cx="2121256" cy="405639"/>
            </a:xfrm>
            <a:prstGeom prst="rect">
              <a:avLst/>
            </a:prstGeom>
            <a:solidFill>
              <a:srgbClr val="FF9933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amp Rate (RR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肘形连接符 54"/>
            <p:cNvCxnSpPr/>
            <p:nvPr/>
          </p:nvCxnSpPr>
          <p:spPr>
            <a:xfrm rot="10800000">
              <a:off x="10552277" y="-1155945"/>
              <a:ext cx="1270930" cy="525712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肘形连接符 55"/>
            <p:cNvCxnSpPr/>
            <p:nvPr/>
          </p:nvCxnSpPr>
          <p:spPr>
            <a:xfrm rot="10800000">
              <a:off x="11371991" y="-1166788"/>
              <a:ext cx="412810" cy="1373770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7" name="对象 5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2234485"/>
                </p:ext>
              </p:extLst>
            </p:nvPr>
          </p:nvGraphicFramePr>
          <p:xfrm>
            <a:off x="16036067" y="-1402087"/>
            <a:ext cx="1981200" cy="266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3" name="Equation" r:id="rId7" imgW="1332921" imgH="177723" progId="Equation.DSMT4">
                    <p:embed/>
                  </p:oleObj>
                </mc:Choice>
                <mc:Fallback>
                  <p:oleObj name="Equation" r:id="rId7" imgW="1332921" imgH="177723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036067" y="-1402087"/>
                          <a:ext cx="1981200" cy="2667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8" name="对象 5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42190607"/>
                </p:ext>
              </p:extLst>
            </p:nvPr>
          </p:nvGraphicFramePr>
          <p:xfrm>
            <a:off x="9689354" y="1980823"/>
            <a:ext cx="2824809" cy="34501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4" name="Equation" r:id="rId9" imgW="1828800" imgH="228600" progId="Equation.DSMT4">
                    <p:embed/>
                  </p:oleObj>
                </mc:Choice>
                <mc:Fallback>
                  <p:oleObj name="Equation" r:id="rId9" imgW="18288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689354" y="1980823"/>
                          <a:ext cx="2824809" cy="345015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9" name="对象 5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34756761"/>
                </p:ext>
              </p:extLst>
            </p:nvPr>
          </p:nvGraphicFramePr>
          <p:xfrm>
            <a:off x="10095171" y="2579002"/>
            <a:ext cx="1902597" cy="3826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5" name="Equation" r:id="rId11" imgW="1193800" imgH="241300" progId="Equation.DSMT4">
                    <p:embed/>
                  </p:oleObj>
                </mc:Choice>
                <mc:Fallback>
                  <p:oleObj name="Equation" r:id="rId11" imgW="1193800" imgH="2413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95171" y="2579002"/>
                          <a:ext cx="1902597" cy="38264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0" name="对象 5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92723224"/>
                </p:ext>
              </p:extLst>
            </p:nvPr>
          </p:nvGraphicFramePr>
          <p:xfrm>
            <a:off x="10290732" y="2251762"/>
            <a:ext cx="1427164" cy="3619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6" name="Equation" r:id="rId13" imgW="825480" imgH="228600" progId="Equation.DSMT4">
                    <p:embed/>
                  </p:oleObj>
                </mc:Choice>
                <mc:Fallback>
                  <p:oleObj name="Equation" r:id="rId13" imgW="82548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90732" y="2251762"/>
                          <a:ext cx="1427164" cy="36195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1" name="对象 6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82169459"/>
                </p:ext>
              </p:extLst>
            </p:nvPr>
          </p:nvGraphicFramePr>
          <p:xfrm>
            <a:off x="16267763" y="2009313"/>
            <a:ext cx="1066800" cy="3524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7" name="Equation" r:id="rId15" imgW="711200" imgH="228600" progId="Equation.DSMT4">
                    <p:embed/>
                  </p:oleObj>
                </mc:Choice>
                <mc:Fallback>
                  <p:oleObj name="Equation" r:id="rId15" imgW="7112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267763" y="2009313"/>
                          <a:ext cx="1066800" cy="352425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2" name="肘形连接符 61"/>
            <p:cNvCxnSpPr/>
            <p:nvPr/>
          </p:nvCxnSpPr>
          <p:spPr>
            <a:xfrm flipV="1">
              <a:off x="16036067" y="-1201809"/>
              <a:ext cx="1254083" cy="1381900"/>
            </a:xfrm>
            <a:prstGeom prst="bentConnector2">
              <a:avLst/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肘形连接符 62"/>
            <p:cNvCxnSpPr/>
            <p:nvPr/>
          </p:nvCxnSpPr>
          <p:spPr>
            <a:xfrm rot="5400000" flipH="1" flipV="1">
              <a:off x="14471308" y="-2413102"/>
              <a:ext cx="932217" cy="3384065"/>
            </a:xfrm>
            <a:prstGeom prst="bentConnector3">
              <a:avLst>
                <a:gd name="adj1" fmla="val 50000"/>
              </a:avLst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肘形连接符 63"/>
            <p:cNvCxnSpPr/>
            <p:nvPr/>
          </p:nvCxnSpPr>
          <p:spPr>
            <a:xfrm rot="5400000">
              <a:off x="12045871" y="832662"/>
              <a:ext cx="1463655" cy="2718345"/>
            </a:xfrm>
            <a:prstGeom prst="bentConnector3">
              <a:avLst>
                <a:gd name="adj1" fmla="val 115618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肘形连接符 64"/>
            <p:cNvCxnSpPr/>
            <p:nvPr/>
          </p:nvCxnSpPr>
          <p:spPr>
            <a:xfrm rot="5400000">
              <a:off x="11891733" y="1339816"/>
              <a:ext cx="1520393" cy="1734257"/>
            </a:xfrm>
            <a:prstGeom prst="bentConnector3">
              <a:avLst>
                <a:gd name="adj1" fmla="val 118627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肘形连接符 65"/>
            <p:cNvCxnSpPr/>
            <p:nvPr/>
          </p:nvCxnSpPr>
          <p:spPr>
            <a:xfrm rot="16200000" flipH="1">
              <a:off x="14904897" y="441158"/>
              <a:ext cx="950095" cy="2947721"/>
            </a:xfrm>
            <a:prstGeom prst="bentConnector3">
              <a:avLst>
                <a:gd name="adj1" fmla="val 142735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肘形连接符 66"/>
            <p:cNvCxnSpPr/>
            <p:nvPr/>
          </p:nvCxnSpPr>
          <p:spPr>
            <a:xfrm rot="16200000" flipH="1">
              <a:off x="15640785" y="865875"/>
              <a:ext cx="962442" cy="2082877"/>
            </a:xfrm>
            <a:prstGeom prst="bentConnector3">
              <a:avLst>
                <a:gd name="adj1" fmla="val 123752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组合 69"/>
          <p:cNvGrpSpPr/>
          <p:nvPr/>
        </p:nvGrpSpPr>
        <p:grpSpPr>
          <a:xfrm>
            <a:off x="396232" y="1230268"/>
            <a:ext cx="6636407" cy="5071700"/>
            <a:chOff x="691188" y="813602"/>
            <a:chExt cx="7708329" cy="5162338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1188" y="832652"/>
              <a:ext cx="3200400" cy="18288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27692" y="813602"/>
              <a:ext cx="3048000" cy="18669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27692" y="3994740"/>
              <a:ext cx="3171825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2965" y="3994740"/>
              <a:ext cx="3238500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右箭头 14"/>
            <p:cNvSpPr/>
            <p:nvPr/>
          </p:nvSpPr>
          <p:spPr>
            <a:xfrm>
              <a:off x="3965420" y="1433061"/>
              <a:ext cx="1219471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右箭头 15"/>
            <p:cNvSpPr/>
            <p:nvPr/>
          </p:nvSpPr>
          <p:spPr>
            <a:xfrm rot="5400000">
              <a:off x="7528478" y="2998265"/>
              <a:ext cx="922946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右箭头 16"/>
            <p:cNvSpPr/>
            <p:nvPr/>
          </p:nvSpPr>
          <p:spPr>
            <a:xfrm rot="10800000">
              <a:off x="4108790" y="4536079"/>
              <a:ext cx="932730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2082800" y="2905089"/>
              <a:ext cx="2761092" cy="281949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①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upp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9" name="直接箭头连接符 18"/>
            <p:cNvCxnSpPr>
              <a:endCxn id="18" idx="0"/>
            </p:cNvCxnSpPr>
            <p:nvPr/>
          </p:nvCxnSpPr>
          <p:spPr>
            <a:xfrm flipH="1">
              <a:off x="3463346" y="2660958"/>
              <a:ext cx="317" cy="244131"/>
            </a:xfrm>
            <a:prstGeom prst="straightConnector1">
              <a:avLst/>
            </a:prstGeom>
            <a:ln w="508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4468054" y="2905089"/>
              <a:ext cx="3266855" cy="281949"/>
            </a:xfrm>
            <a:prstGeom prst="rect">
              <a:avLst/>
            </a:prstGeom>
            <a:solidFill>
              <a:srgbClr val="98D953"/>
            </a:solidFill>
          </p:spPr>
          <p:txBody>
            <a:bodyPr wrap="non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②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ait for entering standby state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483125" y="866029"/>
              <a:ext cx="896695" cy="1550799"/>
            </a:xfrm>
            <a:prstGeom prst="rect">
              <a:avLst/>
            </a:prstGeom>
            <a:noFill/>
            <a:ln w="47625">
              <a:solidFill>
                <a:srgbClr val="98D953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2" name="直接箭头连接符 21"/>
            <p:cNvCxnSpPr/>
            <p:nvPr/>
          </p:nvCxnSpPr>
          <p:spPr>
            <a:xfrm>
              <a:off x="5931472" y="2416828"/>
              <a:ext cx="0" cy="488261"/>
            </a:xfrm>
            <a:prstGeom prst="straightConnector1">
              <a:avLst/>
            </a:prstGeom>
            <a:ln w="50800">
              <a:solidFill>
                <a:srgbClr val="98D95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矩形 22"/>
            <p:cNvSpPr/>
            <p:nvPr/>
          </p:nvSpPr>
          <p:spPr>
            <a:xfrm>
              <a:off x="4468054" y="3386307"/>
              <a:ext cx="2207066" cy="281949"/>
            </a:xfrm>
            <a:prstGeom prst="rect">
              <a:avLst/>
            </a:prstGeom>
            <a:solidFill>
              <a:srgbClr val="FF66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③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low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4" name="直接箭头连接符 23"/>
            <p:cNvCxnSpPr/>
            <p:nvPr/>
          </p:nvCxnSpPr>
          <p:spPr>
            <a:xfrm flipV="1">
              <a:off x="5371709" y="3739515"/>
              <a:ext cx="0" cy="333497"/>
            </a:xfrm>
            <a:prstGeom prst="straightConnector1">
              <a:avLst/>
            </a:prstGeom>
            <a:ln w="50800">
              <a:solidFill>
                <a:srgbClr val="FF66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矩形 24"/>
            <p:cNvSpPr/>
            <p:nvPr/>
          </p:nvSpPr>
          <p:spPr>
            <a:xfrm>
              <a:off x="5371709" y="3948299"/>
              <a:ext cx="1008112" cy="1670086"/>
            </a:xfrm>
            <a:prstGeom prst="rect">
              <a:avLst/>
            </a:prstGeom>
            <a:noFill/>
            <a:ln w="47625">
              <a:solidFill>
                <a:srgbClr val="FF6600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2819118" y="3386307"/>
              <a:ext cx="1648935" cy="281949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④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ish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矩形 70"/>
          <p:cNvSpPr/>
          <p:nvPr/>
        </p:nvSpPr>
        <p:spPr>
          <a:xfrm>
            <a:off x="370832" y="612240"/>
            <a:ext cx="11763297" cy="455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Asynchronous scheduling of aggregated air conditioners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76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04" y="144832"/>
            <a:ext cx="10545479" cy="379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6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956721" y="920997"/>
            <a:ext cx="2101850" cy="3009234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324323" y="914471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1" cstate="email">
            <a:grayscl/>
          </a:blip>
          <a:srcRect/>
          <a:stretch>
            <a:fillRect/>
          </a:stretch>
        </p:blipFill>
        <p:spPr bwMode="gray">
          <a:xfrm>
            <a:off x="10181559" y="2175465"/>
            <a:ext cx="390525" cy="342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527171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152234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9" descr="house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gray">
          <a:xfrm>
            <a:off x="8706771" y="2141182"/>
            <a:ext cx="1722438" cy="137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val 10"/>
          <p:cNvSpPr>
            <a:spLocks noChangeArrowheads="1"/>
          </p:cNvSpPr>
          <p:nvPr/>
        </p:nvSpPr>
        <p:spPr bwMode="auto">
          <a:xfrm>
            <a:off x="6495384" y="1899638"/>
            <a:ext cx="1811337" cy="1852874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11"/>
          <p:cNvSpPr>
            <a:spLocks noChangeArrowheads="1"/>
          </p:cNvSpPr>
          <p:nvPr/>
        </p:nvSpPr>
        <p:spPr bwMode="auto">
          <a:xfrm>
            <a:off x="4322096" y="1929246"/>
            <a:ext cx="1811338" cy="1852873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83"/>
          <p:cNvSpPr>
            <a:spLocks noChangeArrowheads="1"/>
          </p:cNvSpPr>
          <p:nvPr/>
        </p:nvSpPr>
        <p:spPr bwMode="auto">
          <a:xfrm>
            <a:off x="4542759" y="2103781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84"/>
          <p:cNvSpPr>
            <a:spLocks noChangeArrowheads="1"/>
          </p:cNvSpPr>
          <p:nvPr/>
        </p:nvSpPr>
        <p:spPr bwMode="auto">
          <a:xfrm>
            <a:off x="4499896" y="3425259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auto">
          <a:xfrm>
            <a:off x="6050884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86"/>
          <p:cNvSpPr>
            <a:spLocks noChangeArrowheads="1"/>
          </p:cNvSpPr>
          <p:nvPr/>
        </p:nvSpPr>
        <p:spPr bwMode="auto">
          <a:xfrm>
            <a:off x="6396959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AutoShape 87"/>
          <p:cNvCxnSpPr>
            <a:cxnSpLocks noChangeShapeType="1"/>
            <a:stCxn id="13" idx="6"/>
            <a:endCxn id="14" idx="2"/>
          </p:cNvCxnSpPr>
          <p:nvPr/>
        </p:nvCxnSpPr>
        <p:spPr bwMode="auto">
          <a:xfrm>
            <a:off x="6203284" y="2799583"/>
            <a:ext cx="193675" cy="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16" name="Oval 89"/>
          <p:cNvSpPr>
            <a:spLocks noChangeArrowheads="1"/>
          </p:cNvSpPr>
          <p:nvPr/>
        </p:nvSpPr>
        <p:spPr bwMode="auto">
          <a:xfrm>
            <a:off x="7798721" y="1947947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AutoShape 196"/>
          <p:cNvCxnSpPr>
            <a:cxnSpLocks noChangeShapeType="1"/>
          </p:cNvCxnSpPr>
          <p:nvPr/>
        </p:nvCxnSpPr>
        <p:spPr bwMode="auto">
          <a:xfrm>
            <a:off x="2953671" y="1835442"/>
            <a:ext cx="1589088" cy="408287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8" name="AutoShape 198"/>
          <p:cNvCxnSpPr>
            <a:cxnSpLocks noChangeShapeType="1"/>
            <a:stCxn id="16" idx="6"/>
          </p:cNvCxnSpPr>
          <p:nvPr/>
        </p:nvCxnSpPr>
        <p:spPr bwMode="auto">
          <a:xfrm flipV="1">
            <a:off x="7951121" y="1517123"/>
            <a:ext cx="1432572" cy="51030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9" name="AutoShape 199"/>
          <p:cNvCxnSpPr>
            <a:cxnSpLocks noChangeShapeType="1"/>
            <a:stCxn id="16" idx="6"/>
          </p:cNvCxnSpPr>
          <p:nvPr/>
        </p:nvCxnSpPr>
        <p:spPr bwMode="auto">
          <a:xfrm>
            <a:off x="7951121" y="2028981"/>
            <a:ext cx="755650" cy="79787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20" name="Text Box 201"/>
          <p:cNvSpPr txBox="1">
            <a:spLocks noChangeArrowheads="1"/>
          </p:cNvSpPr>
          <p:nvPr/>
        </p:nvSpPr>
        <p:spPr bwMode="auto">
          <a:xfrm>
            <a:off x="4403330" y="2502126"/>
            <a:ext cx="16875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1" name="Text Box 202"/>
          <p:cNvSpPr txBox="1">
            <a:spLocks noChangeArrowheads="1"/>
          </p:cNvSpPr>
          <p:nvPr/>
        </p:nvSpPr>
        <p:spPr bwMode="auto">
          <a:xfrm>
            <a:off x="6581611" y="2492332"/>
            <a:ext cx="168410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2" name="Picture 203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748046" y="2780104"/>
            <a:ext cx="261938" cy="230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05"/>
          <p:cNvPicPr>
            <a:picLocks noChangeAspect="1" noChangeArrowheads="1"/>
          </p:cNvPicPr>
          <p:nvPr/>
        </p:nvPicPr>
        <p:blipFill>
          <a:blip r:embed="rId14" cstate="email">
            <a:grayscl/>
          </a:blip>
          <a:srcRect/>
          <a:stretch>
            <a:fillRect/>
          </a:stretch>
        </p:blipFill>
        <p:spPr bwMode="gray">
          <a:xfrm>
            <a:off x="9583071" y="3256957"/>
            <a:ext cx="3143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Oval 208"/>
          <p:cNvSpPr>
            <a:spLocks noChangeArrowheads="1"/>
          </p:cNvSpPr>
          <p:nvPr/>
        </p:nvSpPr>
        <p:spPr bwMode="gray">
          <a:xfrm>
            <a:off x="8974488" y="2655417"/>
            <a:ext cx="1148333" cy="61556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8000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 b="1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 Box 209"/>
          <p:cNvSpPr txBox="1">
            <a:spLocks noChangeArrowheads="1"/>
          </p:cNvSpPr>
          <p:nvPr/>
        </p:nvSpPr>
        <p:spPr bwMode="gray">
          <a:xfrm>
            <a:off x="9127461" y="2551084"/>
            <a:ext cx="125888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GB" sz="800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Flexible demand resources</a:t>
            </a:r>
            <a:endParaRPr lang="zh-CN" altLang="en-GB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6" name="Picture 210"/>
          <p:cNvPicPr>
            <a:picLocks noChangeAspect="1" noChangeArrowheads="1"/>
          </p:cNvPicPr>
          <p:nvPr/>
        </p:nvPicPr>
        <p:blipFill>
          <a:blip r:embed="rId15" cstate="email">
            <a:grayscl/>
          </a:blip>
          <a:srcRect/>
          <a:stretch>
            <a:fillRect/>
          </a:stretch>
        </p:blipFill>
        <p:spPr bwMode="gray">
          <a:xfrm>
            <a:off x="9687652" y="2338875"/>
            <a:ext cx="352425" cy="35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211"/>
          <p:cNvSpPr txBox="1">
            <a:spLocks noChangeArrowheads="1"/>
          </p:cNvSpPr>
          <p:nvPr/>
        </p:nvSpPr>
        <p:spPr bwMode="gray">
          <a:xfrm>
            <a:off x="9271012" y="3653232"/>
            <a:ext cx="112664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Vs</a:t>
            </a:r>
            <a:endParaRPr lang="en-GB" dirty="0"/>
          </a:p>
        </p:txBody>
      </p:sp>
      <p:pic>
        <p:nvPicPr>
          <p:cNvPr id="28" name="Picture 212"/>
          <p:cNvPicPr>
            <a:picLocks noChangeAspect="1" noChangeArrowheads="1"/>
          </p:cNvPicPr>
          <p:nvPr/>
        </p:nvPicPr>
        <p:blipFill>
          <a:blip r:embed="rId16" cstate="email">
            <a:grayscl/>
          </a:blip>
          <a:srcRect/>
          <a:stretch>
            <a:fillRect/>
          </a:stretch>
        </p:blipFill>
        <p:spPr bwMode="gray">
          <a:xfrm>
            <a:off x="8581887" y="3509216"/>
            <a:ext cx="750887" cy="33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1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gray">
          <a:xfrm>
            <a:off x="8968709" y="2077290"/>
            <a:ext cx="438150" cy="42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214"/>
          <p:cNvSpPr txBox="1">
            <a:spLocks noChangeArrowheads="1"/>
          </p:cNvSpPr>
          <p:nvPr/>
        </p:nvSpPr>
        <p:spPr bwMode="gray">
          <a:xfrm>
            <a:off x="8767278" y="2009348"/>
            <a:ext cx="127507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GB" dirty="0"/>
          </a:p>
        </p:txBody>
      </p:sp>
      <p:sp>
        <p:nvSpPr>
          <p:cNvPr id="31" name="Text Box 217"/>
          <p:cNvSpPr txBox="1">
            <a:spLocks noChangeArrowheads="1"/>
          </p:cNvSpPr>
          <p:nvPr/>
        </p:nvSpPr>
        <p:spPr bwMode="gray">
          <a:xfrm>
            <a:off x="9738150" y="1862406"/>
            <a:ext cx="113873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Micro wind power generation system</a:t>
            </a:r>
            <a:endParaRPr lang="en-GB" dirty="0"/>
          </a:p>
        </p:txBody>
      </p:sp>
      <p:pic>
        <p:nvPicPr>
          <p:cNvPr id="32" name="Picture 219"/>
          <p:cNvPicPr>
            <a:picLocks noChangeAspect="1" noChangeArrowheads="1"/>
          </p:cNvPicPr>
          <p:nvPr/>
        </p:nvPicPr>
        <p:blipFill>
          <a:blip r:embed="rId18" cstate="email">
            <a:grayscl/>
          </a:blip>
          <a:srcRect/>
          <a:stretch>
            <a:fillRect/>
          </a:stretch>
        </p:blipFill>
        <p:spPr bwMode="gray">
          <a:xfrm>
            <a:off x="10118059" y="3110473"/>
            <a:ext cx="268287" cy="38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22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20192231">
            <a:off x="7854150" y="1425195"/>
            <a:ext cx="1158615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45720" tIns="0" rIns="0" bIns="0">
            <a:spAutoFit/>
          </a:bodyPr>
          <a:lstStyle/>
          <a:p>
            <a: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nteraction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34" name="Picture 22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gray">
          <a:xfrm>
            <a:off x="3382296" y="1124636"/>
            <a:ext cx="598488" cy="58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 Box 2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44184" y="1594178"/>
            <a:ext cx="9474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US" dirty="0"/>
          </a:p>
        </p:txBody>
      </p:sp>
      <p:sp>
        <p:nvSpPr>
          <p:cNvPr id="36" name="Text Box 26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56350" y="3526642"/>
            <a:ext cx="9481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>
                <a:solidFill>
                  <a:srgbClr val="FF0000"/>
                </a:solidFill>
              </a:rPr>
              <a:t>Wind Power</a:t>
            </a:r>
            <a:endParaRPr lang="zh-CN" altLang="en-US" sz="1000" dirty="0">
              <a:solidFill>
                <a:srgbClr val="FF0000"/>
              </a:solidFill>
            </a:endParaRPr>
          </a:p>
        </p:txBody>
      </p:sp>
      <p:pic>
        <p:nvPicPr>
          <p:cNvPr id="37" name="Picture 269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3652109" y="2625754"/>
            <a:ext cx="4667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 Box 317"/>
          <p:cNvSpPr txBox="1">
            <a:spLocks noChangeArrowheads="1"/>
          </p:cNvSpPr>
          <p:nvPr/>
        </p:nvSpPr>
        <p:spPr bwMode="auto">
          <a:xfrm>
            <a:off x="6450689" y="1492257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pic>
        <p:nvPicPr>
          <p:cNvPr id="39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6820140" y="1739061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AutoShape 372"/>
          <p:cNvCxnSpPr>
            <a:cxnSpLocks noChangeShapeType="1"/>
          </p:cNvCxnSpPr>
          <p:nvPr/>
        </p:nvCxnSpPr>
        <p:spPr bwMode="auto">
          <a:xfrm>
            <a:off x="2905981" y="1863796"/>
            <a:ext cx="955740" cy="751122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1" name="AutoShape 373"/>
          <p:cNvCxnSpPr>
            <a:cxnSpLocks noChangeShapeType="1"/>
          </p:cNvCxnSpPr>
          <p:nvPr/>
        </p:nvCxnSpPr>
        <p:spPr bwMode="auto">
          <a:xfrm>
            <a:off x="3810240" y="1597528"/>
            <a:ext cx="808719" cy="665205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2" name="AutoShape 374"/>
          <p:cNvCxnSpPr>
            <a:cxnSpLocks noChangeShapeType="1"/>
          </p:cNvCxnSpPr>
          <p:nvPr/>
        </p:nvCxnSpPr>
        <p:spPr bwMode="auto">
          <a:xfrm flipV="1">
            <a:off x="4125246" y="2201957"/>
            <a:ext cx="461963" cy="55321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3" name="AutoShape 376"/>
          <p:cNvCxnSpPr>
            <a:cxnSpLocks noChangeShapeType="1"/>
          </p:cNvCxnSpPr>
          <p:nvPr/>
        </p:nvCxnSpPr>
        <p:spPr bwMode="auto">
          <a:xfrm flipH="1" flipV="1">
            <a:off x="3202909" y="3345782"/>
            <a:ext cx="1296987" cy="16051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4" name="AutoShape 381"/>
          <p:cNvCxnSpPr>
            <a:cxnSpLocks noChangeShapeType="1"/>
            <a:endCxn id="28" idx="0"/>
          </p:cNvCxnSpPr>
          <p:nvPr/>
        </p:nvCxnSpPr>
        <p:spPr bwMode="auto">
          <a:xfrm rot="10800000" flipV="1">
            <a:off x="8957332" y="3363516"/>
            <a:ext cx="341171" cy="145699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45" name="AutoShape 382"/>
          <p:cNvSpPr>
            <a:spLocks noChangeArrowheads="1"/>
          </p:cNvSpPr>
          <p:nvPr/>
        </p:nvSpPr>
        <p:spPr bwMode="auto">
          <a:xfrm rot="20231694">
            <a:off x="8390859" y="161290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AutoShape 383"/>
          <p:cNvSpPr>
            <a:spLocks noChangeArrowheads="1"/>
          </p:cNvSpPr>
          <p:nvPr/>
        </p:nvSpPr>
        <p:spPr bwMode="auto">
          <a:xfrm rot="2045396">
            <a:off x="8332121" y="246999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Oval 386"/>
          <p:cNvSpPr>
            <a:spLocks noChangeArrowheads="1"/>
          </p:cNvSpPr>
          <p:nvPr/>
        </p:nvSpPr>
        <p:spPr bwMode="auto">
          <a:xfrm>
            <a:off x="7003309" y="3602346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8" name="Group 16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642615" y="3365200"/>
            <a:ext cx="688975" cy="493997"/>
            <a:chOff x="3817" y="928"/>
            <a:chExt cx="998" cy="672"/>
          </a:xfrm>
        </p:grpSpPr>
        <p:sp>
          <p:nvSpPr>
            <p:cNvPr id="49" name="Freeform 165"/>
            <p:cNvSpPr>
              <a:spLocks/>
            </p:cNvSpPr>
            <p:nvPr/>
          </p:nvSpPr>
          <p:spPr bwMode="gray">
            <a:xfrm>
              <a:off x="4344" y="966"/>
              <a:ext cx="212" cy="226"/>
            </a:xfrm>
            <a:custGeom>
              <a:avLst/>
              <a:gdLst>
                <a:gd name="T0" fmla="*/ 1 w 422"/>
                <a:gd name="T1" fmla="*/ 1 h 452"/>
                <a:gd name="T2" fmla="*/ 1 w 422"/>
                <a:gd name="T3" fmla="*/ 1 h 452"/>
                <a:gd name="T4" fmla="*/ 1 w 422"/>
                <a:gd name="T5" fmla="*/ 0 h 452"/>
                <a:gd name="T6" fmla="*/ 0 w 422"/>
                <a:gd name="T7" fmla="*/ 1 h 452"/>
                <a:gd name="T8" fmla="*/ 1 w 422"/>
                <a:gd name="T9" fmla="*/ 1 h 452"/>
                <a:gd name="T10" fmla="*/ 1 w 422"/>
                <a:gd name="T11" fmla="*/ 1 h 452"/>
                <a:gd name="T12" fmla="*/ 1 w 422"/>
                <a:gd name="T13" fmla="*/ 1 h 452"/>
                <a:gd name="T14" fmla="*/ 1 w 422"/>
                <a:gd name="T15" fmla="*/ 1 h 452"/>
                <a:gd name="T16" fmla="*/ 1 w 422"/>
                <a:gd name="T17" fmla="*/ 1 h 452"/>
                <a:gd name="T18" fmla="*/ 1 w 422"/>
                <a:gd name="T19" fmla="*/ 1 h 452"/>
                <a:gd name="T20" fmla="*/ 1 w 422"/>
                <a:gd name="T21" fmla="*/ 1 h 452"/>
                <a:gd name="T22" fmla="*/ 1 w 422"/>
                <a:gd name="T23" fmla="*/ 1 h 452"/>
                <a:gd name="T24" fmla="*/ 1 w 422"/>
                <a:gd name="T25" fmla="*/ 1 h 452"/>
                <a:gd name="T26" fmla="*/ 1 w 422"/>
                <a:gd name="T27" fmla="*/ 1 h 452"/>
                <a:gd name="T28" fmla="*/ 1 w 422"/>
                <a:gd name="T29" fmla="*/ 1 h 452"/>
                <a:gd name="T30" fmla="*/ 1 w 422"/>
                <a:gd name="T31" fmla="*/ 1 h 452"/>
                <a:gd name="T32" fmla="*/ 1 w 422"/>
                <a:gd name="T33" fmla="*/ 1 h 452"/>
                <a:gd name="T34" fmla="*/ 1 w 422"/>
                <a:gd name="T35" fmla="*/ 1 h 4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22"/>
                <a:gd name="T55" fmla="*/ 0 h 452"/>
                <a:gd name="T56" fmla="*/ 422 w 422"/>
                <a:gd name="T57" fmla="*/ 452 h 4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22" h="452">
                  <a:moveTo>
                    <a:pt x="315" y="153"/>
                  </a:moveTo>
                  <a:lnTo>
                    <a:pt x="422" y="153"/>
                  </a:lnTo>
                  <a:lnTo>
                    <a:pt x="200" y="0"/>
                  </a:lnTo>
                  <a:lnTo>
                    <a:pt x="0" y="153"/>
                  </a:lnTo>
                  <a:lnTo>
                    <a:pt x="102" y="153"/>
                  </a:lnTo>
                  <a:lnTo>
                    <a:pt x="102" y="329"/>
                  </a:lnTo>
                  <a:lnTo>
                    <a:pt x="38" y="433"/>
                  </a:lnTo>
                  <a:lnTo>
                    <a:pt x="70" y="452"/>
                  </a:lnTo>
                  <a:lnTo>
                    <a:pt x="132" y="353"/>
                  </a:lnTo>
                  <a:lnTo>
                    <a:pt x="194" y="353"/>
                  </a:lnTo>
                  <a:lnTo>
                    <a:pt x="194" y="442"/>
                  </a:lnTo>
                  <a:lnTo>
                    <a:pt x="232" y="442"/>
                  </a:lnTo>
                  <a:lnTo>
                    <a:pt x="232" y="353"/>
                  </a:lnTo>
                  <a:lnTo>
                    <a:pt x="286" y="353"/>
                  </a:lnTo>
                  <a:lnTo>
                    <a:pt x="349" y="449"/>
                  </a:lnTo>
                  <a:lnTo>
                    <a:pt x="380" y="428"/>
                  </a:lnTo>
                  <a:lnTo>
                    <a:pt x="315" y="329"/>
                  </a:lnTo>
                  <a:lnTo>
                    <a:pt x="315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0" name="Rectangle 166"/>
            <p:cNvSpPr>
              <a:spLocks noChangeArrowheads="1"/>
            </p:cNvSpPr>
            <p:nvPr/>
          </p:nvSpPr>
          <p:spPr bwMode="gray">
            <a:xfrm>
              <a:off x="4415" y="1044"/>
              <a:ext cx="68" cy="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167"/>
            <p:cNvSpPr>
              <a:spLocks/>
            </p:cNvSpPr>
            <p:nvPr/>
          </p:nvSpPr>
          <p:spPr bwMode="gray">
            <a:xfrm>
              <a:off x="4400" y="989"/>
              <a:ext cx="95" cy="35"/>
            </a:xfrm>
            <a:custGeom>
              <a:avLst/>
              <a:gdLst>
                <a:gd name="T0" fmla="*/ 0 w 191"/>
                <a:gd name="T1" fmla="*/ 0 h 70"/>
                <a:gd name="T2" fmla="*/ 0 w 191"/>
                <a:gd name="T3" fmla="*/ 1 h 70"/>
                <a:gd name="T4" fmla="*/ 0 w 191"/>
                <a:gd name="T5" fmla="*/ 1 h 70"/>
                <a:gd name="T6" fmla="*/ 0 w 191"/>
                <a:gd name="T7" fmla="*/ 0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1"/>
                <a:gd name="T13" fmla="*/ 0 h 70"/>
                <a:gd name="T14" fmla="*/ 191 w 191"/>
                <a:gd name="T15" fmla="*/ 70 h 7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1" h="70">
                  <a:moveTo>
                    <a:pt x="91" y="0"/>
                  </a:moveTo>
                  <a:lnTo>
                    <a:pt x="191" y="70"/>
                  </a:lnTo>
                  <a:lnTo>
                    <a:pt x="0" y="7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 168"/>
            <p:cNvSpPr>
              <a:spLocks/>
            </p:cNvSpPr>
            <p:nvPr/>
          </p:nvSpPr>
          <p:spPr bwMode="gray">
            <a:xfrm>
              <a:off x="3817" y="928"/>
              <a:ext cx="998" cy="672"/>
            </a:xfrm>
            <a:custGeom>
              <a:avLst/>
              <a:gdLst>
                <a:gd name="T0" fmla="*/ 1 w 1996"/>
                <a:gd name="T1" fmla="*/ 1 h 1344"/>
                <a:gd name="T2" fmla="*/ 1 w 1996"/>
                <a:gd name="T3" fmla="*/ 1 h 1344"/>
                <a:gd name="T4" fmla="*/ 1 w 1996"/>
                <a:gd name="T5" fmla="*/ 1 h 1344"/>
                <a:gd name="T6" fmla="*/ 1 w 1996"/>
                <a:gd name="T7" fmla="*/ 1 h 1344"/>
                <a:gd name="T8" fmla="*/ 1 w 1996"/>
                <a:gd name="T9" fmla="*/ 1 h 1344"/>
                <a:gd name="T10" fmla="*/ 1 w 1996"/>
                <a:gd name="T11" fmla="*/ 1 h 1344"/>
                <a:gd name="T12" fmla="*/ 1 w 1996"/>
                <a:gd name="T13" fmla="*/ 1 h 1344"/>
                <a:gd name="T14" fmla="*/ 1 w 1996"/>
                <a:gd name="T15" fmla="*/ 0 h 1344"/>
                <a:gd name="T16" fmla="*/ 1 w 1996"/>
                <a:gd name="T17" fmla="*/ 0 h 1344"/>
                <a:gd name="T18" fmla="*/ 1 w 1996"/>
                <a:gd name="T19" fmla="*/ 1 h 1344"/>
                <a:gd name="T20" fmla="*/ 1 w 1996"/>
                <a:gd name="T21" fmla="*/ 1 h 1344"/>
                <a:gd name="T22" fmla="*/ 1 w 1996"/>
                <a:gd name="T23" fmla="*/ 0 h 1344"/>
                <a:gd name="T24" fmla="*/ 1 w 1996"/>
                <a:gd name="T25" fmla="*/ 0 h 1344"/>
                <a:gd name="T26" fmla="*/ 1 w 1996"/>
                <a:gd name="T27" fmla="*/ 1 h 1344"/>
                <a:gd name="T28" fmla="*/ 0 w 1996"/>
                <a:gd name="T29" fmla="*/ 1 h 1344"/>
                <a:gd name="T30" fmla="*/ 1 w 1996"/>
                <a:gd name="T31" fmla="*/ 1 h 1344"/>
                <a:gd name="T32" fmla="*/ 1 w 1996"/>
                <a:gd name="T33" fmla="*/ 1 h 1344"/>
                <a:gd name="T34" fmla="*/ 1 w 1996"/>
                <a:gd name="T35" fmla="*/ 1 h 1344"/>
                <a:gd name="T36" fmla="*/ 1 w 1996"/>
                <a:gd name="T37" fmla="*/ 1 h 1344"/>
                <a:gd name="T38" fmla="*/ 1 w 1996"/>
                <a:gd name="T39" fmla="*/ 1 h 13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96"/>
                <a:gd name="T61" fmla="*/ 0 h 1344"/>
                <a:gd name="T62" fmla="*/ 1996 w 1996"/>
                <a:gd name="T63" fmla="*/ 1344 h 13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96" h="1344">
                  <a:moveTo>
                    <a:pt x="1864" y="728"/>
                  </a:moveTo>
                  <a:lnTo>
                    <a:pt x="1776" y="815"/>
                  </a:lnTo>
                  <a:lnTo>
                    <a:pt x="1776" y="601"/>
                  </a:lnTo>
                  <a:lnTo>
                    <a:pt x="1830" y="496"/>
                  </a:lnTo>
                  <a:lnTo>
                    <a:pt x="832" y="496"/>
                  </a:lnTo>
                  <a:lnTo>
                    <a:pt x="832" y="836"/>
                  </a:lnTo>
                  <a:lnTo>
                    <a:pt x="691" y="836"/>
                  </a:lnTo>
                  <a:lnTo>
                    <a:pt x="648" y="0"/>
                  </a:lnTo>
                  <a:lnTo>
                    <a:pt x="495" y="0"/>
                  </a:lnTo>
                  <a:lnTo>
                    <a:pt x="459" y="836"/>
                  </a:lnTo>
                  <a:lnTo>
                    <a:pt x="426" y="836"/>
                  </a:lnTo>
                  <a:lnTo>
                    <a:pt x="383" y="0"/>
                  </a:lnTo>
                  <a:lnTo>
                    <a:pt x="229" y="0"/>
                  </a:lnTo>
                  <a:lnTo>
                    <a:pt x="194" y="836"/>
                  </a:lnTo>
                  <a:lnTo>
                    <a:pt x="0" y="836"/>
                  </a:lnTo>
                  <a:lnTo>
                    <a:pt x="61" y="949"/>
                  </a:lnTo>
                  <a:lnTo>
                    <a:pt x="61" y="1344"/>
                  </a:lnTo>
                  <a:lnTo>
                    <a:pt x="1996" y="1344"/>
                  </a:lnTo>
                  <a:lnTo>
                    <a:pt x="1996" y="869"/>
                  </a:lnTo>
                  <a:lnTo>
                    <a:pt x="1864" y="72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169"/>
            <p:cNvSpPr>
              <a:spLocks/>
            </p:cNvSpPr>
            <p:nvPr/>
          </p:nvSpPr>
          <p:spPr bwMode="gray">
            <a:xfrm>
              <a:off x="4375" y="1318"/>
              <a:ext cx="422" cy="263"/>
            </a:xfrm>
            <a:custGeom>
              <a:avLst/>
              <a:gdLst>
                <a:gd name="T0" fmla="*/ 1 w 843"/>
                <a:gd name="T1" fmla="*/ 0 h 528"/>
                <a:gd name="T2" fmla="*/ 1 w 843"/>
                <a:gd name="T3" fmla="*/ 0 h 528"/>
                <a:gd name="T4" fmla="*/ 0 w 843"/>
                <a:gd name="T5" fmla="*/ 0 h 528"/>
                <a:gd name="T6" fmla="*/ 0 w 843"/>
                <a:gd name="T7" fmla="*/ 0 h 528"/>
                <a:gd name="T8" fmla="*/ 1 w 843"/>
                <a:gd name="T9" fmla="*/ 0 h 528"/>
                <a:gd name="T10" fmla="*/ 1 w 843"/>
                <a:gd name="T11" fmla="*/ 0 h 528"/>
                <a:gd name="T12" fmla="*/ 1 w 843"/>
                <a:gd name="T13" fmla="*/ 0 h 528"/>
                <a:gd name="T14" fmla="*/ 1 w 843"/>
                <a:gd name="T15" fmla="*/ 0 h 528"/>
                <a:gd name="T16" fmla="*/ 1 w 843"/>
                <a:gd name="T17" fmla="*/ 0 h 528"/>
                <a:gd name="T18" fmla="*/ 1 w 843"/>
                <a:gd name="T19" fmla="*/ 0 h 528"/>
                <a:gd name="T20" fmla="*/ 1 w 843"/>
                <a:gd name="T21" fmla="*/ 0 h 528"/>
                <a:gd name="T22" fmla="*/ 1 w 843"/>
                <a:gd name="T23" fmla="*/ 0 h 5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3"/>
                <a:gd name="T37" fmla="*/ 0 h 528"/>
                <a:gd name="T38" fmla="*/ 843 w 843"/>
                <a:gd name="T39" fmla="*/ 528 h 5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3" h="528">
                  <a:moveTo>
                    <a:pt x="843" y="106"/>
                  </a:moveTo>
                  <a:lnTo>
                    <a:pt x="839" y="527"/>
                  </a:lnTo>
                  <a:lnTo>
                    <a:pt x="0" y="528"/>
                  </a:lnTo>
                  <a:lnTo>
                    <a:pt x="0" y="136"/>
                  </a:lnTo>
                  <a:lnTo>
                    <a:pt x="111" y="14"/>
                  </a:lnTo>
                  <a:lnTo>
                    <a:pt x="212" y="124"/>
                  </a:lnTo>
                  <a:lnTo>
                    <a:pt x="325" y="10"/>
                  </a:lnTo>
                  <a:lnTo>
                    <a:pt x="414" y="99"/>
                  </a:lnTo>
                  <a:lnTo>
                    <a:pt x="527" y="0"/>
                  </a:lnTo>
                  <a:lnTo>
                    <a:pt x="646" y="104"/>
                  </a:lnTo>
                  <a:lnTo>
                    <a:pt x="747" y="4"/>
                  </a:lnTo>
                  <a:lnTo>
                    <a:pt x="843" y="1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170"/>
            <p:cNvSpPr>
              <a:spLocks/>
            </p:cNvSpPr>
            <p:nvPr/>
          </p:nvSpPr>
          <p:spPr bwMode="gray">
            <a:xfrm>
              <a:off x="4253" y="1196"/>
              <a:ext cx="449" cy="385"/>
            </a:xfrm>
            <a:custGeom>
              <a:avLst/>
              <a:gdLst>
                <a:gd name="T0" fmla="*/ 0 w 899"/>
                <a:gd name="T1" fmla="*/ 0 h 772"/>
                <a:gd name="T2" fmla="*/ 0 w 899"/>
                <a:gd name="T3" fmla="*/ 0 h 772"/>
                <a:gd name="T4" fmla="*/ 0 w 899"/>
                <a:gd name="T5" fmla="*/ 0 h 772"/>
                <a:gd name="T6" fmla="*/ 0 w 899"/>
                <a:gd name="T7" fmla="*/ 0 h 772"/>
                <a:gd name="T8" fmla="*/ 0 w 899"/>
                <a:gd name="T9" fmla="*/ 0 h 772"/>
                <a:gd name="T10" fmla="*/ 0 w 899"/>
                <a:gd name="T11" fmla="*/ 0 h 772"/>
                <a:gd name="T12" fmla="*/ 0 w 899"/>
                <a:gd name="T13" fmla="*/ 0 h 772"/>
                <a:gd name="T14" fmla="*/ 0 w 899"/>
                <a:gd name="T15" fmla="*/ 0 h 772"/>
                <a:gd name="T16" fmla="*/ 0 w 899"/>
                <a:gd name="T17" fmla="*/ 0 h 772"/>
                <a:gd name="T18" fmla="*/ 0 w 899"/>
                <a:gd name="T19" fmla="*/ 0 h 772"/>
                <a:gd name="T20" fmla="*/ 0 w 899"/>
                <a:gd name="T21" fmla="*/ 0 h 772"/>
                <a:gd name="T22" fmla="*/ 0 w 899"/>
                <a:gd name="T23" fmla="*/ 0 h 772"/>
                <a:gd name="T24" fmla="*/ 0 w 899"/>
                <a:gd name="T25" fmla="*/ 0 h 7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99"/>
                <a:gd name="T40" fmla="*/ 0 h 772"/>
                <a:gd name="T41" fmla="*/ 899 w 899"/>
                <a:gd name="T42" fmla="*/ 772 h 7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99" h="772">
                  <a:moveTo>
                    <a:pt x="868" y="58"/>
                  </a:moveTo>
                  <a:lnTo>
                    <a:pt x="868" y="278"/>
                  </a:lnTo>
                  <a:lnTo>
                    <a:pt x="773" y="195"/>
                  </a:lnTo>
                  <a:lnTo>
                    <a:pt x="662" y="292"/>
                  </a:lnTo>
                  <a:lnTo>
                    <a:pt x="571" y="202"/>
                  </a:lnTo>
                  <a:lnTo>
                    <a:pt x="459" y="313"/>
                  </a:lnTo>
                  <a:lnTo>
                    <a:pt x="357" y="204"/>
                  </a:lnTo>
                  <a:lnTo>
                    <a:pt x="208" y="365"/>
                  </a:lnTo>
                  <a:lnTo>
                    <a:pt x="208" y="772"/>
                  </a:lnTo>
                  <a:lnTo>
                    <a:pt x="0" y="772"/>
                  </a:lnTo>
                  <a:lnTo>
                    <a:pt x="0" y="0"/>
                  </a:lnTo>
                  <a:lnTo>
                    <a:pt x="899" y="0"/>
                  </a:lnTo>
                  <a:lnTo>
                    <a:pt x="868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171"/>
            <p:cNvSpPr>
              <a:spLocks/>
            </p:cNvSpPr>
            <p:nvPr/>
          </p:nvSpPr>
          <p:spPr bwMode="gray">
            <a:xfrm>
              <a:off x="4066" y="947"/>
              <a:ext cx="78" cy="399"/>
            </a:xfrm>
            <a:custGeom>
              <a:avLst/>
              <a:gdLst>
                <a:gd name="T0" fmla="*/ 1 w 156"/>
                <a:gd name="T1" fmla="*/ 0 h 798"/>
                <a:gd name="T2" fmla="*/ 1 w 156"/>
                <a:gd name="T3" fmla="*/ 0 h 798"/>
                <a:gd name="T4" fmla="*/ 1 w 156"/>
                <a:gd name="T5" fmla="*/ 1 h 798"/>
                <a:gd name="T6" fmla="*/ 1 w 156"/>
                <a:gd name="T7" fmla="*/ 1 h 798"/>
                <a:gd name="T8" fmla="*/ 1 w 156"/>
                <a:gd name="T9" fmla="*/ 1 h 798"/>
                <a:gd name="T10" fmla="*/ 0 w 156"/>
                <a:gd name="T11" fmla="*/ 1 h 798"/>
                <a:gd name="T12" fmla="*/ 1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5" y="0"/>
                  </a:lnTo>
                  <a:lnTo>
                    <a:pt x="117" y="32"/>
                  </a:lnTo>
                  <a:lnTo>
                    <a:pt x="119" y="70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172"/>
            <p:cNvSpPr>
              <a:spLocks/>
            </p:cNvSpPr>
            <p:nvPr/>
          </p:nvSpPr>
          <p:spPr bwMode="gray">
            <a:xfrm>
              <a:off x="3934" y="947"/>
              <a:ext cx="77" cy="399"/>
            </a:xfrm>
            <a:custGeom>
              <a:avLst/>
              <a:gdLst>
                <a:gd name="T0" fmla="*/ 0 w 156"/>
                <a:gd name="T1" fmla="*/ 0 h 798"/>
                <a:gd name="T2" fmla="*/ 0 w 156"/>
                <a:gd name="T3" fmla="*/ 0 h 798"/>
                <a:gd name="T4" fmla="*/ 0 w 156"/>
                <a:gd name="T5" fmla="*/ 1 h 798"/>
                <a:gd name="T6" fmla="*/ 0 w 156"/>
                <a:gd name="T7" fmla="*/ 1 h 798"/>
                <a:gd name="T8" fmla="*/ 0 w 156"/>
                <a:gd name="T9" fmla="*/ 1 h 798"/>
                <a:gd name="T10" fmla="*/ 0 w 156"/>
                <a:gd name="T11" fmla="*/ 1 h 798"/>
                <a:gd name="T12" fmla="*/ 0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6" y="0"/>
                  </a:lnTo>
                  <a:lnTo>
                    <a:pt x="117" y="37"/>
                  </a:lnTo>
                  <a:lnTo>
                    <a:pt x="119" y="75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173"/>
            <p:cNvSpPr>
              <a:spLocks/>
            </p:cNvSpPr>
            <p:nvPr/>
          </p:nvSpPr>
          <p:spPr bwMode="gray">
            <a:xfrm>
              <a:off x="3849" y="1365"/>
              <a:ext cx="385" cy="216"/>
            </a:xfrm>
            <a:custGeom>
              <a:avLst/>
              <a:gdLst>
                <a:gd name="T0" fmla="*/ 0 w 769"/>
                <a:gd name="T1" fmla="*/ 0 h 433"/>
                <a:gd name="T2" fmla="*/ 1 w 769"/>
                <a:gd name="T3" fmla="*/ 0 h 433"/>
                <a:gd name="T4" fmla="*/ 1 w 769"/>
                <a:gd name="T5" fmla="*/ 0 h 433"/>
                <a:gd name="T6" fmla="*/ 1 w 769"/>
                <a:gd name="T7" fmla="*/ 0 h 433"/>
                <a:gd name="T8" fmla="*/ 1 w 769"/>
                <a:gd name="T9" fmla="*/ 0 h 433"/>
                <a:gd name="T10" fmla="*/ 1 w 769"/>
                <a:gd name="T11" fmla="*/ 0 h 433"/>
                <a:gd name="T12" fmla="*/ 1 w 769"/>
                <a:gd name="T13" fmla="*/ 0 h 433"/>
                <a:gd name="T14" fmla="*/ 1 w 769"/>
                <a:gd name="T15" fmla="*/ 0 h 433"/>
                <a:gd name="T16" fmla="*/ 1 w 769"/>
                <a:gd name="T17" fmla="*/ 0 h 433"/>
                <a:gd name="T18" fmla="*/ 1 w 769"/>
                <a:gd name="T19" fmla="*/ 0 h 433"/>
                <a:gd name="T20" fmla="*/ 1 w 769"/>
                <a:gd name="T21" fmla="*/ 0 h 433"/>
                <a:gd name="T22" fmla="*/ 1 w 769"/>
                <a:gd name="T23" fmla="*/ 0 h 433"/>
                <a:gd name="T24" fmla="*/ 1 w 769"/>
                <a:gd name="T25" fmla="*/ 0 h 433"/>
                <a:gd name="T26" fmla="*/ 1 w 769"/>
                <a:gd name="T27" fmla="*/ 0 h 433"/>
                <a:gd name="T28" fmla="*/ 1 w 769"/>
                <a:gd name="T29" fmla="*/ 0 h 433"/>
                <a:gd name="T30" fmla="*/ 1 w 769"/>
                <a:gd name="T31" fmla="*/ 0 h 433"/>
                <a:gd name="T32" fmla="*/ 1 w 769"/>
                <a:gd name="T33" fmla="*/ 0 h 433"/>
                <a:gd name="T34" fmla="*/ 0 w 769"/>
                <a:gd name="T35" fmla="*/ 0 h 43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9"/>
                <a:gd name="T55" fmla="*/ 0 h 433"/>
                <a:gd name="T56" fmla="*/ 769 w 769"/>
                <a:gd name="T57" fmla="*/ 433 h 43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9" h="433">
                  <a:moveTo>
                    <a:pt x="0" y="0"/>
                  </a:moveTo>
                  <a:lnTo>
                    <a:pt x="769" y="0"/>
                  </a:lnTo>
                  <a:lnTo>
                    <a:pt x="769" y="88"/>
                  </a:lnTo>
                  <a:lnTo>
                    <a:pt x="688" y="88"/>
                  </a:lnTo>
                  <a:lnTo>
                    <a:pt x="688" y="125"/>
                  </a:lnTo>
                  <a:lnTo>
                    <a:pt x="769" y="125"/>
                  </a:lnTo>
                  <a:lnTo>
                    <a:pt x="769" y="193"/>
                  </a:lnTo>
                  <a:lnTo>
                    <a:pt x="688" y="193"/>
                  </a:lnTo>
                  <a:lnTo>
                    <a:pt x="688" y="231"/>
                  </a:lnTo>
                  <a:lnTo>
                    <a:pt x="769" y="231"/>
                  </a:lnTo>
                  <a:lnTo>
                    <a:pt x="769" y="299"/>
                  </a:lnTo>
                  <a:lnTo>
                    <a:pt x="688" y="299"/>
                  </a:lnTo>
                  <a:lnTo>
                    <a:pt x="688" y="336"/>
                  </a:lnTo>
                  <a:lnTo>
                    <a:pt x="769" y="336"/>
                  </a:lnTo>
                  <a:lnTo>
                    <a:pt x="769" y="433"/>
                  </a:lnTo>
                  <a:lnTo>
                    <a:pt x="36" y="433"/>
                  </a:lnTo>
                  <a:lnTo>
                    <a:pt x="36" y="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74"/>
            <p:cNvSpPr>
              <a:spLocks noChangeArrowheads="1"/>
            </p:cNvSpPr>
            <p:nvPr/>
          </p:nvSpPr>
          <p:spPr bwMode="gray">
            <a:xfrm>
              <a:off x="4290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Rectangle 175"/>
            <p:cNvSpPr>
              <a:spLocks noChangeArrowheads="1"/>
            </p:cNvSpPr>
            <p:nvPr/>
          </p:nvSpPr>
          <p:spPr bwMode="gray">
            <a:xfrm>
              <a:off x="436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Rectangle 176"/>
            <p:cNvSpPr>
              <a:spLocks noChangeArrowheads="1"/>
            </p:cNvSpPr>
            <p:nvPr/>
          </p:nvSpPr>
          <p:spPr bwMode="gray">
            <a:xfrm>
              <a:off x="4437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Rectangle 177"/>
            <p:cNvSpPr>
              <a:spLocks noChangeArrowheads="1"/>
            </p:cNvSpPr>
            <p:nvPr/>
          </p:nvSpPr>
          <p:spPr bwMode="gray">
            <a:xfrm>
              <a:off x="4511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Rectangle 178"/>
            <p:cNvSpPr>
              <a:spLocks noChangeArrowheads="1"/>
            </p:cNvSpPr>
            <p:nvPr/>
          </p:nvSpPr>
          <p:spPr bwMode="gray">
            <a:xfrm>
              <a:off x="458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Rectangle 179"/>
            <p:cNvSpPr>
              <a:spLocks noChangeArrowheads="1"/>
            </p:cNvSpPr>
            <p:nvPr/>
          </p:nvSpPr>
          <p:spPr bwMode="gray">
            <a:xfrm>
              <a:off x="3899" y="1409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4" name="Rectangle 180"/>
            <p:cNvSpPr>
              <a:spLocks noChangeArrowheads="1"/>
            </p:cNvSpPr>
            <p:nvPr/>
          </p:nvSpPr>
          <p:spPr bwMode="gray">
            <a:xfrm>
              <a:off x="3972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81"/>
            <p:cNvSpPr>
              <a:spLocks noChangeArrowheads="1"/>
            </p:cNvSpPr>
            <p:nvPr/>
          </p:nvSpPr>
          <p:spPr bwMode="gray">
            <a:xfrm>
              <a:off x="4045" y="1409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6" name="Rectangle 182"/>
            <p:cNvSpPr>
              <a:spLocks noChangeArrowheads="1"/>
            </p:cNvSpPr>
            <p:nvPr/>
          </p:nvSpPr>
          <p:spPr bwMode="gray">
            <a:xfrm>
              <a:off x="4119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Rectangle 183"/>
            <p:cNvSpPr>
              <a:spLocks noChangeArrowheads="1"/>
            </p:cNvSpPr>
            <p:nvPr/>
          </p:nvSpPr>
          <p:spPr bwMode="gray">
            <a:xfrm>
              <a:off x="445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8" name="Rectangle 184"/>
            <p:cNvSpPr>
              <a:spLocks noChangeArrowheads="1"/>
            </p:cNvSpPr>
            <p:nvPr/>
          </p:nvSpPr>
          <p:spPr bwMode="gray">
            <a:xfrm>
              <a:off x="4527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" name="Rectangle 185"/>
            <p:cNvSpPr>
              <a:spLocks noChangeArrowheads="1"/>
            </p:cNvSpPr>
            <p:nvPr/>
          </p:nvSpPr>
          <p:spPr bwMode="gray">
            <a:xfrm>
              <a:off x="4601" y="1515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0" name="Rectangle 186"/>
            <p:cNvSpPr>
              <a:spLocks noChangeArrowheads="1"/>
            </p:cNvSpPr>
            <p:nvPr/>
          </p:nvSpPr>
          <p:spPr bwMode="gray">
            <a:xfrm>
              <a:off x="467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Rectangle 187"/>
            <p:cNvSpPr>
              <a:spLocks noChangeArrowheads="1"/>
            </p:cNvSpPr>
            <p:nvPr/>
          </p:nvSpPr>
          <p:spPr bwMode="gray">
            <a:xfrm>
              <a:off x="3899" y="1462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" name="Rectangle 188"/>
            <p:cNvSpPr>
              <a:spLocks noChangeArrowheads="1"/>
            </p:cNvSpPr>
            <p:nvPr/>
          </p:nvSpPr>
          <p:spPr bwMode="gray">
            <a:xfrm>
              <a:off x="3972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3" name="Rectangle 189"/>
            <p:cNvSpPr>
              <a:spLocks noChangeArrowheads="1"/>
            </p:cNvSpPr>
            <p:nvPr/>
          </p:nvSpPr>
          <p:spPr bwMode="gray">
            <a:xfrm>
              <a:off x="4045" y="1462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4" name="Rectangle 190"/>
            <p:cNvSpPr>
              <a:spLocks noChangeArrowheads="1"/>
            </p:cNvSpPr>
            <p:nvPr/>
          </p:nvSpPr>
          <p:spPr bwMode="gray">
            <a:xfrm>
              <a:off x="4119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5" name="Rectangle 191"/>
            <p:cNvSpPr>
              <a:spLocks noChangeArrowheads="1"/>
            </p:cNvSpPr>
            <p:nvPr/>
          </p:nvSpPr>
          <p:spPr bwMode="gray">
            <a:xfrm>
              <a:off x="3899" y="1515"/>
              <a:ext cx="44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6" name="Rectangle 192"/>
            <p:cNvSpPr>
              <a:spLocks noChangeArrowheads="1"/>
            </p:cNvSpPr>
            <p:nvPr/>
          </p:nvSpPr>
          <p:spPr bwMode="gray">
            <a:xfrm>
              <a:off x="3972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7" name="Rectangle 193"/>
            <p:cNvSpPr>
              <a:spLocks noChangeArrowheads="1"/>
            </p:cNvSpPr>
            <p:nvPr/>
          </p:nvSpPr>
          <p:spPr bwMode="gray">
            <a:xfrm>
              <a:off x="4045" y="1515"/>
              <a:ext cx="46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8" name="Rectangle 194"/>
            <p:cNvSpPr>
              <a:spLocks noChangeArrowheads="1"/>
            </p:cNvSpPr>
            <p:nvPr/>
          </p:nvSpPr>
          <p:spPr bwMode="gray">
            <a:xfrm>
              <a:off x="4119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195"/>
            <p:cNvSpPr>
              <a:spLocks/>
            </p:cNvSpPr>
            <p:nvPr/>
          </p:nvSpPr>
          <p:spPr bwMode="gray">
            <a:xfrm>
              <a:off x="4812" y="1514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80" name="AutoShape 381"/>
          <p:cNvCxnSpPr>
            <a:cxnSpLocks noChangeShapeType="1"/>
          </p:cNvCxnSpPr>
          <p:nvPr/>
        </p:nvCxnSpPr>
        <p:spPr bwMode="auto">
          <a:xfrm flipH="1" flipV="1">
            <a:off x="7102572" y="3689744"/>
            <a:ext cx="566905" cy="16945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81" name="Text Box 204"/>
          <p:cNvSpPr txBox="1">
            <a:spLocks noChangeArrowheads="1"/>
          </p:cNvSpPr>
          <p:nvPr/>
        </p:nvSpPr>
        <p:spPr bwMode="auto">
          <a:xfrm>
            <a:off x="7064040" y="3227867"/>
            <a:ext cx="7610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Industrial users’ DR</a:t>
            </a:r>
            <a:endParaRPr lang="en-GB" dirty="0"/>
          </a:p>
        </p:txBody>
      </p:sp>
      <p:sp>
        <p:nvSpPr>
          <p:cNvPr id="82" name="Rectangle 5"/>
          <p:cNvSpPr>
            <a:spLocks noChangeArrowheads="1"/>
          </p:cNvSpPr>
          <p:nvPr/>
        </p:nvSpPr>
        <p:spPr bwMode="auto">
          <a:xfrm>
            <a:off x="1956721" y="83699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Genera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41522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4" name="Rectangle 3"/>
          <p:cNvSpPr>
            <a:spLocks noChangeArrowheads="1"/>
          </p:cNvSpPr>
          <p:nvPr/>
        </p:nvSpPr>
        <p:spPr bwMode="auto">
          <a:xfrm>
            <a:off x="8527171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sump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85" name="图片 84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028986" y="1391024"/>
            <a:ext cx="926847" cy="623173"/>
          </a:xfrm>
          <a:prstGeom prst="rect">
            <a:avLst/>
          </a:prstGeom>
        </p:spPr>
      </p:pic>
      <p:pic>
        <p:nvPicPr>
          <p:cNvPr id="86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5644271" y="3287240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584280" y="3017283"/>
            <a:ext cx="718425" cy="476208"/>
          </a:xfrm>
          <a:prstGeom prst="rect">
            <a:avLst/>
          </a:prstGeom>
        </p:spPr>
      </p:pic>
      <p:sp>
        <p:nvSpPr>
          <p:cNvPr id="88" name="Text Box 8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40012" y="2003656"/>
            <a:ext cx="91365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Traditional generators</a:t>
            </a:r>
            <a:endParaRPr lang="zh-CN" altLang="en-US" sz="1000" dirty="0"/>
          </a:p>
        </p:txBody>
      </p:sp>
      <p:sp>
        <p:nvSpPr>
          <p:cNvPr id="89" name="Text Box 268"/>
          <p:cNvSpPr txBox="1">
            <a:spLocks noChangeArrowheads="1"/>
          </p:cNvSpPr>
          <p:nvPr/>
        </p:nvSpPr>
        <p:spPr bwMode="auto">
          <a:xfrm>
            <a:off x="3494657" y="2889987"/>
            <a:ext cx="106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Storage</a:t>
            </a:r>
            <a:endParaRPr lang="zh-CN" altLang="en-GB" sz="1000" dirty="0"/>
          </a:p>
        </p:txBody>
      </p:sp>
      <p:sp>
        <p:nvSpPr>
          <p:cNvPr id="90" name="Text Box 204"/>
          <p:cNvSpPr txBox="1">
            <a:spLocks noChangeArrowheads="1"/>
          </p:cNvSpPr>
          <p:nvPr/>
        </p:nvSpPr>
        <p:spPr bwMode="auto">
          <a:xfrm>
            <a:off x="8318542" y="2967647"/>
            <a:ext cx="8556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smart meter</a:t>
            </a:r>
          </a:p>
        </p:txBody>
      </p:sp>
      <p:sp>
        <p:nvSpPr>
          <p:cNvPr id="91" name="Text Box 218"/>
          <p:cNvSpPr txBox="1">
            <a:spLocks noChangeArrowheads="1"/>
          </p:cNvSpPr>
          <p:nvPr/>
        </p:nvSpPr>
        <p:spPr bwMode="gray">
          <a:xfrm>
            <a:off x="9987137" y="2481427"/>
            <a:ext cx="1001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>
                <a:solidFill>
                  <a:schemeClr val="tx2"/>
                </a:solidFill>
              </a:rPr>
              <a:t>Air conditioner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2" name="Text Box 206"/>
          <p:cNvSpPr txBox="1">
            <a:spLocks noChangeArrowheads="1"/>
          </p:cNvSpPr>
          <p:nvPr/>
        </p:nvSpPr>
        <p:spPr bwMode="gray">
          <a:xfrm>
            <a:off x="9898156" y="3507234"/>
            <a:ext cx="111283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Refrigerator</a:t>
            </a:r>
            <a:endParaRPr lang="zh-CN" altLang="en-GB" dirty="0"/>
          </a:p>
        </p:txBody>
      </p:sp>
      <p:pic>
        <p:nvPicPr>
          <p:cNvPr id="93" name="Picture 6" descr="http://imgsrc.baidu.com/imgad/pic/item/5882b2b7d0a20cf484307ae57d094b36acaf996c.jpg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7" b="27039"/>
          <a:stretch/>
        </p:blipFill>
        <p:spPr bwMode="auto">
          <a:xfrm>
            <a:off x="3029107" y="5325530"/>
            <a:ext cx="6697510" cy="13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63348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5" name="Rectangle 5"/>
          <p:cNvSpPr>
            <a:spLocks noChangeArrowheads="1"/>
          </p:cNvSpPr>
          <p:nvPr/>
        </p:nvSpPr>
        <p:spPr bwMode="auto">
          <a:xfrm>
            <a:off x="3513041" y="5152471"/>
            <a:ext cx="15402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Supply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6" name="Rectangle 5"/>
          <p:cNvSpPr>
            <a:spLocks noChangeArrowheads="1"/>
          </p:cNvSpPr>
          <p:nvPr/>
        </p:nvSpPr>
        <p:spPr bwMode="auto">
          <a:xfrm>
            <a:off x="7227238" y="5157664"/>
            <a:ext cx="23558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emand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97" name="Picture 6" descr="http://imgs.hao315.com/upload/18032018030612110281520309462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284061"/>
            <a:ext cx="753927" cy="48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http://news.cableabc.com/userfiles/images/1%28552%29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853391"/>
            <a:ext cx="753927" cy="48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 5"/>
          <p:cNvSpPr>
            <a:spLocks noChangeArrowheads="1"/>
          </p:cNvSpPr>
          <p:nvPr/>
        </p:nvSpPr>
        <p:spPr bwMode="auto">
          <a:xfrm>
            <a:off x="5794256" y="5136761"/>
            <a:ext cx="11269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Hz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100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398" y="4040329"/>
            <a:ext cx="1404762" cy="966537"/>
          </a:xfrm>
          <a:prstGeom prst="rect">
            <a:avLst/>
          </a:prstGeom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1" name="Group 9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011935" y="4291933"/>
            <a:ext cx="620442" cy="417554"/>
            <a:chOff x="3809" y="1344"/>
            <a:chExt cx="1003" cy="829"/>
          </a:xfrm>
        </p:grpSpPr>
        <p:sp>
          <p:nvSpPr>
            <p:cNvPr id="102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3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9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0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1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2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3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4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5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6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7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8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9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4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5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6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7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8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9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0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1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2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3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4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5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6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7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8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9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0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2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3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4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5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6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7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8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9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0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1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6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7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2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4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5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6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7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8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9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0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1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2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3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4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175" name="图片 17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530448" y="4044775"/>
            <a:ext cx="1558387" cy="962091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76" name="组合 175"/>
          <p:cNvGrpSpPr/>
          <p:nvPr/>
        </p:nvGrpSpPr>
        <p:grpSpPr>
          <a:xfrm>
            <a:off x="10053103" y="4812498"/>
            <a:ext cx="637697" cy="476607"/>
            <a:chOff x="7103616" y="5088776"/>
            <a:chExt cx="998491" cy="863211"/>
          </a:xfrm>
        </p:grpSpPr>
        <p:sp>
          <p:nvSpPr>
            <p:cNvPr id="177" name="Freeform 290"/>
            <p:cNvSpPr>
              <a:spLocks/>
            </p:cNvSpPr>
            <p:nvPr/>
          </p:nvSpPr>
          <p:spPr bwMode="auto">
            <a:xfrm>
              <a:off x="7549384" y="5088776"/>
              <a:ext cx="177260" cy="863211"/>
            </a:xfrm>
            <a:custGeom>
              <a:avLst/>
              <a:gdLst>
                <a:gd name="T0" fmla="*/ 0 w 237"/>
                <a:gd name="T1" fmla="*/ 1013 h 1013"/>
                <a:gd name="T2" fmla="*/ 237 w 237"/>
                <a:gd name="T3" fmla="*/ 1013 h 1013"/>
                <a:gd name="T4" fmla="*/ 237 w 237"/>
                <a:gd name="T5" fmla="*/ 117 h 1013"/>
                <a:gd name="T6" fmla="*/ 0 w 237"/>
                <a:gd name="T7" fmla="*/ 0 h 1013"/>
                <a:gd name="T8" fmla="*/ 0 w 237"/>
                <a:gd name="T9" fmla="*/ 101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013">
                  <a:moveTo>
                    <a:pt x="0" y="1013"/>
                  </a:moveTo>
                  <a:lnTo>
                    <a:pt x="237" y="1013"/>
                  </a:lnTo>
                  <a:lnTo>
                    <a:pt x="237" y="117"/>
                  </a:lnTo>
                  <a:lnTo>
                    <a:pt x="0" y="0"/>
                  </a:lnTo>
                  <a:lnTo>
                    <a:pt x="0" y="1013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8" name="Rectangle 291"/>
            <p:cNvSpPr>
              <a:spLocks noChangeArrowheads="1"/>
            </p:cNvSpPr>
            <p:nvPr/>
          </p:nvSpPr>
          <p:spPr bwMode="auto">
            <a:xfrm>
              <a:off x="7688500" y="5210631"/>
              <a:ext cx="22438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9" name="Rectangle 292"/>
            <p:cNvSpPr>
              <a:spLocks noChangeArrowheads="1"/>
            </p:cNvSpPr>
            <p:nvPr/>
          </p:nvSpPr>
          <p:spPr bwMode="auto">
            <a:xfrm>
              <a:off x="7649607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0" name="Rectangle 293"/>
            <p:cNvSpPr>
              <a:spLocks noChangeArrowheads="1"/>
            </p:cNvSpPr>
            <p:nvPr/>
          </p:nvSpPr>
          <p:spPr bwMode="auto">
            <a:xfrm>
              <a:off x="7610715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1" name="Rectangle 294"/>
            <p:cNvSpPr>
              <a:spLocks noChangeArrowheads="1"/>
            </p:cNvSpPr>
            <p:nvPr/>
          </p:nvSpPr>
          <p:spPr bwMode="auto">
            <a:xfrm>
              <a:off x="7571822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2" name="Rectangle 295"/>
            <p:cNvSpPr>
              <a:spLocks noChangeArrowheads="1"/>
            </p:cNvSpPr>
            <p:nvPr/>
          </p:nvSpPr>
          <p:spPr bwMode="auto">
            <a:xfrm>
              <a:off x="7726644" y="5272837"/>
              <a:ext cx="155570" cy="67915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3" name="Rectangle 296"/>
            <p:cNvSpPr>
              <a:spLocks noChangeArrowheads="1"/>
            </p:cNvSpPr>
            <p:nvPr/>
          </p:nvSpPr>
          <p:spPr bwMode="auto">
            <a:xfrm>
              <a:off x="7736368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4" name="Rectangle 297"/>
            <p:cNvSpPr>
              <a:spLocks noChangeArrowheads="1"/>
            </p:cNvSpPr>
            <p:nvPr/>
          </p:nvSpPr>
          <p:spPr bwMode="auto">
            <a:xfrm>
              <a:off x="7772269" y="5299253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5" name="Rectangle 298"/>
            <p:cNvSpPr>
              <a:spLocks noChangeArrowheads="1"/>
            </p:cNvSpPr>
            <p:nvPr/>
          </p:nvSpPr>
          <p:spPr bwMode="auto">
            <a:xfrm>
              <a:off x="7804429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6" name="Rectangle 299"/>
            <p:cNvSpPr>
              <a:spLocks noChangeArrowheads="1"/>
            </p:cNvSpPr>
            <p:nvPr/>
          </p:nvSpPr>
          <p:spPr bwMode="auto">
            <a:xfrm>
              <a:off x="7836591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7" name="Rectangle 300"/>
            <p:cNvSpPr>
              <a:spLocks noChangeArrowheads="1"/>
            </p:cNvSpPr>
            <p:nvPr/>
          </p:nvSpPr>
          <p:spPr bwMode="auto">
            <a:xfrm>
              <a:off x="7736368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8" name="Rectangle 301"/>
            <p:cNvSpPr>
              <a:spLocks noChangeArrowheads="1"/>
            </p:cNvSpPr>
            <p:nvPr/>
          </p:nvSpPr>
          <p:spPr bwMode="auto">
            <a:xfrm>
              <a:off x="7772269" y="535038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9" name="Rectangle 302"/>
            <p:cNvSpPr>
              <a:spLocks noChangeArrowheads="1"/>
            </p:cNvSpPr>
            <p:nvPr/>
          </p:nvSpPr>
          <p:spPr bwMode="auto">
            <a:xfrm>
              <a:off x="7804429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0" name="Rectangle 303"/>
            <p:cNvSpPr>
              <a:spLocks noChangeArrowheads="1"/>
            </p:cNvSpPr>
            <p:nvPr/>
          </p:nvSpPr>
          <p:spPr bwMode="auto">
            <a:xfrm>
              <a:off x="7836591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1" name="Rectangle 304"/>
            <p:cNvSpPr>
              <a:spLocks noChangeArrowheads="1"/>
            </p:cNvSpPr>
            <p:nvPr/>
          </p:nvSpPr>
          <p:spPr bwMode="auto">
            <a:xfrm>
              <a:off x="7736368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2" name="Rectangle 305"/>
            <p:cNvSpPr>
              <a:spLocks noChangeArrowheads="1"/>
            </p:cNvSpPr>
            <p:nvPr/>
          </p:nvSpPr>
          <p:spPr bwMode="auto">
            <a:xfrm>
              <a:off x="7772269" y="540236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3" name="Rectangle 306"/>
            <p:cNvSpPr>
              <a:spLocks noChangeArrowheads="1"/>
            </p:cNvSpPr>
            <p:nvPr/>
          </p:nvSpPr>
          <p:spPr bwMode="auto">
            <a:xfrm>
              <a:off x="7804429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4" name="Rectangle 307"/>
            <p:cNvSpPr>
              <a:spLocks noChangeArrowheads="1"/>
            </p:cNvSpPr>
            <p:nvPr/>
          </p:nvSpPr>
          <p:spPr bwMode="auto">
            <a:xfrm>
              <a:off x="7836591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5" name="Rectangle 308"/>
            <p:cNvSpPr>
              <a:spLocks noChangeArrowheads="1"/>
            </p:cNvSpPr>
            <p:nvPr/>
          </p:nvSpPr>
          <p:spPr bwMode="auto">
            <a:xfrm>
              <a:off x="7736368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6" name="Rectangle 309"/>
            <p:cNvSpPr>
              <a:spLocks noChangeArrowheads="1"/>
            </p:cNvSpPr>
            <p:nvPr/>
          </p:nvSpPr>
          <p:spPr bwMode="auto">
            <a:xfrm>
              <a:off x="7772269" y="5453489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7" name="Rectangle 310"/>
            <p:cNvSpPr>
              <a:spLocks noChangeArrowheads="1"/>
            </p:cNvSpPr>
            <p:nvPr/>
          </p:nvSpPr>
          <p:spPr bwMode="auto">
            <a:xfrm>
              <a:off x="7804429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8" name="Rectangle 311"/>
            <p:cNvSpPr>
              <a:spLocks noChangeArrowheads="1"/>
            </p:cNvSpPr>
            <p:nvPr/>
          </p:nvSpPr>
          <p:spPr bwMode="auto">
            <a:xfrm>
              <a:off x="7836591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9" name="Rectangle 312"/>
            <p:cNvSpPr>
              <a:spLocks noChangeArrowheads="1"/>
            </p:cNvSpPr>
            <p:nvPr/>
          </p:nvSpPr>
          <p:spPr bwMode="auto">
            <a:xfrm>
              <a:off x="7736368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0" name="Rectangle 313"/>
            <p:cNvSpPr>
              <a:spLocks noChangeArrowheads="1"/>
            </p:cNvSpPr>
            <p:nvPr/>
          </p:nvSpPr>
          <p:spPr bwMode="auto">
            <a:xfrm>
              <a:off x="7772269" y="5505469"/>
              <a:ext cx="2243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1" name="Rectangle 314"/>
            <p:cNvSpPr>
              <a:spLocks noChangeArrowheads="1"/>
            </p:cNvSpPr>
            <p:nvPr/>
          </p:nvSpPr>
          <p:spPr bwMode="auto">
            <a:xfrm>
              <a:off x="7804429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2" name="Rectangle 315"/>
            <p:cNvSpPr>
              <a:spLocks noChangeArrowheads="1"/>
            </p:cNvSpPr>
            <p:nvPr/>
          </p:nvSpPr>
          <p:spPr bwMode="auto">
            <a:xfrm>
              <a:off x="7836591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3" name="Rectangle 316"/>
            <p:cNvSpPr>
              <a:spLocks noChangeArrowheads="1"/>
            </p:cNvSpPr>
            <p:nvPr/>
          </p:nvSpPr>
          <p:spPr bwMode="auto">
            <a:xfrm>
              <a:off x="7736368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4" name="Rectangle 317"/>
            <p:cNvSpPr>
              <a:spLocks noChangeArrowheads="1"/>
            </p:cNvSpPr>
            <p:nvPr/>
          </p:nvSpPr>
          <p:spPr bwMode="auto">
            <a:xfrm>
              <a:off x="7772269" y="5553188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5" name="Rectangle 318"/>
            <p:cNvSpPr>
              <a:spLocks noChangeArrowheads="1"/>
            </p:cNvSpPr>
            <p:nvPr/>
          </p:nvSpPr>
          <p:spPr bwMode="auto">
            <a:xfrm>
              <a:off x="7804429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6" name="Rectangle 319"/>
            <p:cNvSpPr>
              <a:spLocks noChangeArrowheads="1"/>
            </p:cNvSpPr>
            <p:nvPr/>
          </p:nvSpPr>
          <p:spPr bwMode="auto">
            <a:xfrm>
              <a:off x="7836591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7" name="Rectangle 320"/>
            <p:cNvSpPr>
              <a:spLocks noChangeArrowheads="1"/>
            </p:cNvSpPr>
            <p:nvPr/>
          </p:nvSpPr>
          <p:spPr bwMode="auto">
            <a:xfrm>
              <a:off x="7736368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8" name="Rectangle 321"/>
            <p:cNvSpPr>
              <a:spLocks noChangeArrowheads="1"/>
            </p:cNvSpPr>
            <p:nvPr/>
          </p:nvSpPr>
          <p:spPr bwMode="auto">
            <a:xfrm>
              <a:off x="7772269" y="5605169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9" name="Rectangle 322"/>
            <p:cNvSpPr>
              <a:spLocks noChangeArrowheads="1"/>
            </p:cNvSpPr>
            <p:nvPr/>
          </p:nvSpPr>
          <p:spPr bwMode="auto">
            <a:xfrm>
              <a:off x="7804429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0" name="Rectangle 323"/>
            <p:cNvSpPr>
              <a:spLocks noChangeArrowheads="1"/>
            </p:cNvSpPr>
            <p:nvPr/>
          </p:nvSpPr>
          <p:spPr bwMode="auto">
            <a:xfrm>
              <a:off x="7836591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1" name="Rectangle 324"/>
            <p:cNvSpPr>
              <a:spLocks noChangeArrowheads="1"/>
            </p:cNvSpPr>
            <p:nvPr/>
          </p:nvSpPr>
          <p:spPr bwMode="auto">
            <a:xfrm>
              <a:off x="7736368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2" name="Rectangle 325"/>
            <p:cNvSpPr>
              <a:spLocks noChangeArrowheads="1"/>
            </p:cNvSpPr>
            <p:nvPr/>
          </p:nvSpPr>
          <p:spPr bwMode="auto">
            <a:xfrm>
              <a:off x="7772269" y="5656297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3" name="Rectangle 326"/>
            <p:cNvSpPr>
              <a:spLocks noChangeArrowheads="1"/>
            </p:cNvSpPr>
            <p:nvPr/>
          </p:nvSpPr>
          <p:spPr bwMode="auto">
            <a:xfrm>
              <a:off x="7804429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4" name="Rectangle 327"/>
            <p:cNvSpPr>
              <a:spLocks noChangeArrowheads="1"/>
            </p:cNvSpPr>
            <p:nvPr/>
          </p:nvSpPr>
          <p:spPr bwMode="auto">
            <a:xfrm>
              <a:off x="7836591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5" name="Rectangle 328"/>
            <p:cNvSpPr>
              <a:spLocks noChangeArrowheads="1"/>
            </p:cNvSpPr>
            <p:nvPr/>
          </p:nvSpPr>
          <p:spPr bwMode="auto">
            <a:xfrm>
              <a:off x="7397554" y="5306070"/>
              <a:ext cx="15707" cy="10310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6" name="Rectangle 329"/>
            <p:cNvSpPr>
              <a:spLocks noChangeArrowheads="1"/>
            </p:cNvSpPr>
            <p:nvPr/>
          </p:nvSpPr>
          <p:spPr bwMode="auto">
            <a:xfrm>
              <a:off x="7400545" y="5217448"/>
              <a:ext cx="6732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7" name="Rectangle 330"/>
            <p:cNvSpPr>
              <a:spLocks noChangeArrowheads="1"/>
            </p:cNvSpPr>
            <p:nvPr/>
          </p:nvSpPr>
          <p:spPr bwMode="auto">
            <a:xfrm>
              <a:off x="7403537" y="5129678"/>
              <a:ext cx="3740" cy="8777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8" name="Freeform 331"/>
            <p:cNvSpPr>
              <a:spLocks/>
            </p:cNvSpPr>
            <p:nvPr/>
          </p:nvSpPr>
          <p:spPr bwMode="auto">
            <a:xfrm>
              <a:off x="7419992" y="5306070"/>
              <a:ext cx="129393" cy="645917"/>
            </a:xfrm>
            <a:custGeom>
              <a:avLst/>
              <a:gdLst>
                <a:gd name="T0" fmla="*/ 173 w 173"/>
                <a:gd name="T1" fmla="*/ 758 h 758"/>
                <a:gd name="T2" fmla="*/ 0 w 173"/>
                <a:gd name="T3" fmla="*/ 758 h 758"/>
                <a:gd name="T4" fmla="*/ 0 w 173"/>
                <a:gd name="T5" fmla="*/ 0 h 758"/>
                <a:gd name="T6" fmla="*/ 173 w 173"/>
                <a:gd name="T7" fmla="*/ 104 h 758"/>
                <a:gd name="T8" fmla="*/ 173 w 173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758">
                  <a:moveTo>
                    <a:pt x="173" y="758"/>
                  </a:moveTo>
                  <a:lnTo>
                    <a:pt x="0" y="758"/>
                  </a:lnTo>
                  <a:lnTo>
                    <a:pt x="0" y="0"/>
                  </a:lnTo>
                  <a:lnTo>
                    <a:pt x="173" y="104"/>
                  </a:lnTo>
                  <a:lnTo>
                    <a:pt x="173" y="75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9" name="Rectangle 332"/>
            <p:cNvSpPr>
              <a:spLocks noChangeArrowheads="1"/>
            </p:cNvSpPr>
            <p:nvPr/>
          </p:nvSpPr>
          <p:spPr bwMode="auto">
            <a:xfrm>
              <a:off x="7513484" y="5413438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0" name="Rectangle 333"/>
            <p:cNvSpPr>
              <a:spLocks noChangeArrowheads="1"/>
            </p:cNvSpPr>
            <p:nvPr/>
          </p:nvSpPr>
          <p:spPr bwMode="auto">
            <a:xfrm>
              <a:off x="7432707" y="5413438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1" name="Rectangle 334"/>
            <p:cNvSpPr>
              <a:spLocks noChangeArrowheads="1"/>
            </p:cNvSpPr>
            <p:nvPr/>
          </p:nvSpPr>
          <p:spPr bwMode="auto">
            <a:xfrm>
              <a:off x="7471599" y="5472236"/>
              <a:ext cx="32161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2" name="Rectangle 335"/>
            <p:cNvSpPr>
              <a:spLocks noChangeArrowheads="1"/>
            </p:cNvSpPr>
            <p:nvPr/>
          </p:nvSpPr>
          <p:spPr bwMode="auto">
            <a:xfrm>
              <a:off x="7513484" y="5524216"/>
              <a:ext cx="29170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3" name="Rectangle 336"/>
            <p:cNvSpPr>
              <a:spLocks noChangeArrowheads="1"/>
            </p:cNvSpPr>
            <p:nvPr/>
          </p:nvSpPr>
          <p:spPr bwMode="auto">
            <a:xfrm>
              <a:off x="7513484" y="5641810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4" name="Rectangle 337"/>
            <p:cNvSpPr>
              <a:spLocks noChangeArrowheads="1"/>
            </p:cNvSpPr>
            <p:nvPr/>
          </p:nvSpPr>
          <p:spPr bwMode="auto">
            <a:xfrm>
              <a:off x="7513484" y="5760257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5" name="Rectangle 338"/>
            <p:cNvSpPr>
              <a:spLocks noChangeArrowheads="1"/>
            </p:cNvSpPr>
            <p:nvPr/>
          </p:nvSpPr>
          <p:spPr bwMode="auto">
            <a:xfrm>
              <a:off x="7471599" y="5583013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6" name="Rectangle 339"/>
            <p:cNvSpPr>
              <a:spLocks noChangeArrowheads="1"/>
            </p:cNvSpPr>
            <p:nvPr/>
          </p:nvSpPr>
          <p:spPr bwMode="auto">
            <a:xfrm>
              <a:off x="7471599" y="5693790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7" name="Rectangle 340"/>
            <p:cNvSpPr>
              <a:spLocks noChangeArrowheads="1"/>
            </p:cNvSpPr>
            <p:nvPr/>
          </p:nvSpPr>
          <p:spPr bwMode="auto">
            <a:xfrm>
              <a:off x="7471599" y="5807976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8" name="Rectangle 341"/>
            <p:cNvSpPr>
              <a:spLocks noChangeArrowheads="1"/>
            </p:cNvSpPr>
            <p:nvPr/>
          </p:nvSpPr>
          <p:spPr bwMode="auto">
            <a:xfrm>
              <a:off x="7432707" y="5524216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9" name="Rectangle 342"/>
            <p:cNvSpPr>
              <a:spLocks noChangeArrowheads="1"/>
            </p:cNvSpPr>
            <p:nvPr/>
          </p:nvSpPr>
          <p:spPr bwMode="auto">
            <a:xfrm>
              <a:off x="7432707" y="5638402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0" name="Rectangle 343"/>
            <p:cNvSpPr>
              <a:spLocks noChangeArrowheads="1"/>
            </p:cNvSpPr>
            <p:nvPr/>
          </p:nvSpPr>
          <p:spPr bwMode="auto">
            <a:xfrm>
              <a:off x="7432707" y="5749179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1" name="Rectangle 344"/>
            <p:cNvSpPr>
              <a:spLocks noChangeArrowheads="1"/>
            </p:cNvSpPr>
            <p:nvPr/>
          </p:nvSpPr>
          <p:spPr bwMode="auto">
            <a:xfrm>
              <a:off x="7387831" y="5402361"/>
              <a:ext cx="32161" cy="54962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2" name="Freeform 345"/>
            <p:cNvSpPr>
              <a:spLocks/>
            </p:cNvSpPr>
            <p:nvPr/>
          </p:nvSpPr>
          <p:spPr bwMode="auto">
            <a:xfrm>
              <a:off x="7274893" y="5258350"/>
              <a:ext cx="112938" cy="693636"/>
            </a:xfrm>
            <a:custGeom>
              <a:avLst/>
              <a:gdLst>
                <a:gd name="T0" fmla="*/ 129 w 151"/>
                <a:gd name="T1" fmla="*/ 0 h 814"/>
                <a:gd name="T2" fmla="*/ 151 w 151"/>
                <a:gd name="T3" fmla="*/ 0 h 814"/>
                <a:gd name="T4" fmla="*/ 151 w 151"/>
                <a:gd name="T5" fmla="*/ 814 h 814"/>
                <a:gd name="T6" fmla="*/ 0 w 151"/>
                <a:gd name="T7" fmla="*/ 814 h 814"/>
                <a:gd name="T8" fmla="*/ 0 w 151"/>
                <a:gd name="T9" fmla="*/ 74 h 814"/>
                <a:gd name="T10" fmla="*/ 129 w 151"/>
                <a:gd name="T1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814">
                  <a:moveTo>
                    <a:pt x="129" y="0"/>
                  </a:moveTo>
                  <a:lnTo>
                    <a:pt x="151" y="0"/>
                  </a:lnTo>
                  <a:lnTo>
                    <a:pt x="151" y="814"/>
                  </a:lnTo>
                  <a:lnTo>
                    <a:pt x="0" y="814"/>
                  </a:lnTo>
                  <a:lnTo>
                    <a:pt x="0" y="74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3" name="Rectangle 346"/>
            <p:cNvSpPr>
              <a:spLocks noChangeArrowheads="1"/>
            </p:cNvSpPr>
            <p:nvPr/>
          </p:nvSpPr>
          <p:spPr bwMode="auto">
            <a:xfrm>
              <a:off x="7290599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4" name="Rectangle 347"/>
            <p:cNvSpPr>
              <a:spLocks noChangeArrowheads="1"/>
            </p:cNvSpPr>
            <p:nvPr/>
          </p:nvSpPr>
          <p:spPr bwMode="auto">
            <a:xfrm>
              <a:off x="7319769" y="5885520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5" name="Rectangle 348"/>
            <p:cNvSpPr>
              <a:spLocks noChangeArrowheads="1"/>
            </p:cNvSpPr>
            <p:nvPr/>
          </p:nvSpPr>
          <p:spPr bwMode="auto">
            <a:xfrm>
              <a:off x="7351930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6" name="Rectangle 349"/>
            <p:cNvSpPr>
              <a:spLocks noChangeArrowheads="1"/>
            </p:cNvSpPr>
            <p:nvPr/>
          </p:nvSpPr>
          <p:spPr bwMode="auto">
            <a:xfrm>
              <a:off x="7290599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7" name="Rectangle 350"/>
            <p:cNvSpPr>
              <a:spLocks noChangeArrowheads="1"/>
            </p:cNvSpPr>
            <p:nvPr/>
          </p:nvSpPr>
          <p:spPr bwMode="auto">
            <a:xfrm>
              <a:off x="7319769" y="5841209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8" name="Rectangle 351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9" name="Rectangle 352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0" name="Rectangle 353"/>
            <p:cNvSpPr>
              <a:spLocks noChangeArrowheads="1"/>
            </p:cNvSpPr>
            <p:nvPr/>
          </p:nvSpPr>
          <p:spPr bwMode="auto">
            <a:xfrm>
              <a:off x="7290599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1" name="Rectangle 354"/>
            <p:cNvSpPr>
              <a:spLocks noChangeArrowheads="1"/>
            </p:cNvSpPr>
            <p:nvPr/>
          </p:nvSpPr>
          <p:spPr bwMode="auto">
            <a:xfrm>
              <a:off x="7319769" y="5796898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2" name="Rectangle 355"/>
            <p:cNvSpPr>
              <a:spLocks noChangeArrowheads="1"/>
            </p:cNvSpPr>
            <p:nvPr/>
          </p:nvSpPr>
          <p:spPr bwMode="auto">
            <a:xfrm>
              <a:off x="7351930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3" name="Rectangle 356"/>
            <p:cNvSpPr>
              <a:spLocks noChangeArrowheads="1"/>
            </p:cNvSpPr>
            <p:nvPr/>
          </p:nvSpPr>
          <p:spPr bwMode="auto">
            <a:xfrm>
              <a:off x="7290599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4" name="Rectangle 357"/>
            <p:cNvSpPr>
              <a:spLocks noChangeArrowheads="1"/>
            </p:cNvSpPr>
            <p:nvPr/>
          </p:nvSpPr>
          <p:spPr bwMode="auto">
            <a:xfrm>
              <a:off x="7319769" y="575258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5" name="Rectangle 358"/>
            <p:cNvSpPr>
              <a:spLocks noChangeArrowheads="1"/>
            </p:cNvSpPr>
            <p:nvPr/>
          </p:nvSpPr>
          <p:spPr bwMode="auto">
            <a:xfrm>
              <a:off x="7351930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6" name="Rectangle 359"/>
            <p:cNvSpPr>
              <a:spLocks noChangeArrowheads="1"/>
            </p:cNvSpPr>
            <p:nvPr/>
          </p:nvSpPr>
          <p:spPr bwMode="auto">
            <a:xfrm>
              <a:off x="7290599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7" name="Rectangle 360"/>
            <p:cNvSpPr>
              <a:spLocks noChangeArrowheads="1"/>
            </p:cNvSpPr>
            <p:nvPr/>
          </p:nvSpPr>
          <p:spPr bwMode="auto">
            <a:xfrm>
              <a:off x="7319769" y="570827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8" name="Rectangle 361"/>
            <p:cNvSpPr>
              <a:spLocks noChangeArrowheads="1"/>
            </p:cNvSpPr>
            <p:nvPr/>
          </p:nvSpPr>
          <p:spPr bwMode="auto">
            <a:xfrm>
              <a:off x="7351930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9" name="Rectangle 362"/>
            <p:cNvSpPr>
              <a:spLocks noChangeArrowheads="1"/>
            </p:cNvSpPr>
            <p:nvPr/>
          </p:nvSpPr>
          <p:spPr bwMode="auto">
            <a:xfrm>
              <a:off x="7290599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0" name="Rectangle 363"/>
            <p:cNvSpPr>
              <a:spLocks noChangeArrowheads="1"/>
            </p:cNvSpPr>
            <p:nvPr/>
          </p:nvSpPr>
          <p:spPr bwMode="auto">
            <a:xfrm>
              <a:off x="7319769" y="566396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1" name="Rectangle 364"/>
            <p:cNvSpPr>
              <a:spLocks noChangeArrowheads="1"/>
            </p:cNvSpPr>
            <p:nvPr/>
          </p:nvSpPr>
          <p:spPr bwMode="auto">
            <a:xfrm>
              <a:off x="7351930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2" name="Rectangle 365"/>
            <p:cNvSpPr>
              <a:spLocks noChangeArrowheads="1"/>
            </p:cNvSpPr>
            <p:nvPr/>
          </p:nvSpPr>
          <p:spPr bwMode="auto">
            <a:xfrm>
              <a:off x="7290599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3" name="Rectangle 366"/>
            <p:cNvSpPr>
              <a:spLocks noChangeArrowheads="1"/>
            </p:cNvSpPr>
            <p:nvPr/>
          </p:nvSpPr>
          <p:spPr bwMode="auto">
            <a:xfrm>
              <a:off x="7319769" y="5611986"/>
              <a:ext cx="22438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4" name="Rectangle 367"/>
            <p:cNvSpPr>
              <a:spLocks noChangeArrowheads="1"/>
            </p:cNvSpPr>
            <p:nvPr/>
          </p:nvSpPr>
          <p:spPr bwMode="auto">
            <a:xfrm>
              <a:off x="7351930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5" name="Rectangle 368"/>
            <p:cNvSpPr>
              <a:spLocks noChangeArrowheads="1"/>
            </p:cNvSpPr>
            <p:nvPr/>
          </p:nvSpPr>
          <p:spPr bwMode="auto">
            <a:xfrm>
              <a:off x="7290599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6" name="Rectangle 369"/>
            <p:cNvSpPr>
              <a:spLocks noChangeArrowheads="1"/>
            </p:cNvSpPr>
            <p:nvPr/>
          </p:nvSpPr>
          <p:spPr bwMode="auto">
            <a:xfrm>
              <a:off x="7319769" y="556852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7" name="Rectangle 370"/>
            <p:cNvSpPr>
              <a:spLocks noChangeArrowheads="1"/>
            </p:cNvSpPr>
            <p:nvPr/>
          </p:nvSpPr>
          <p:spPr bwMode="auto">
            <a:xfrm>
              <a:off x="7351930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8" name="Rectangle 371"/>
            <p:cNvSpPr>
              <a:spLocks noChangeArrowheads="1"/>
            </p:cNvSpPr>
            <p:nvPr/>
          </p:nvSpPr>
          <p:spPr bwMode="auto">
            <a:xfrm>
              <a:off x="7290599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9" name="Rectangle 372"/>
            <p:cNvSpPr>
              <a:spLocks noChangeArrowheads="1"/>
            </p:cNvSpPr>
            <p:nvPr/>
          </p:nvSpPr>
          <p:spPr bwMode="auto">
            <a:xfrm>
              <a:off x="7319769" y="5524216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0" name="Rectangle 373"/>
            <p:cNvSpPr>
              <a:spLocks noChangeArrowheads="1"/>
            </p:cNvSpPr>
            <p:nvPr/>
          </p:nvSpPr>
          <p:spPr bwMode="auto">
            <a:xfrm>
              <a:off x="7351930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1" name="Rectangle 374"/>
            <p:cNvSpPr>
              <a:spLocks noChangeArrowheads="1"/>
            </p:cNvSpPr>
            <p:nvPr/>
          </p:nvSpPr>
          <p:spPr bwMode="auto">
            <a:xfrm>
              <a:off x="7290599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2" name="Rectangle 375"/>
            <p:cNvSpPr>
              <a:spLocks noChangeArrowheads="1"/>
            </p:cNvSpPr>
            <p:nvPr/>
          </p:nvSpPr>
          <p:spPr bwMode="auto">
            <a:xfrm>
              <a:off x="7319769" y="5479905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3" name="Rectangle 376"/>
            <p:cNvSpPr>
              <a:spLocks noChangeArrowheads="1"/>
            </p:cNvSpPr>
            <p:nvPr/>
          </p:nvSpPr>
          <p:spPr bwMode="auto">
            <a:xfrm>
              <a:off x="7351930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4" name="Rectangle 377"/>
            <p:cNvSpPr>
              <a:spLocks noChangeArrowheads="1"/>
            </p:cNvSpPr>
            <p:nvPr/>
          </p:nvSpPr>
          <p:spPr bwMode="auto">
            <a:xfrm>
              <a:off x="7290599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5" name="Rectangle 378"/>
            <p:cNvSpPr>
              <a:spLocks noChangeArrowheads="1"/>
            </p:cNvSpPr>
            <p:nvPr/>
          </p:nvSpPr>
          <p:spPr bwMode="auto">
            <a:xfrm>
              <a:off x="7319769" y="5435594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6" name="Rectangle 379"/>
            <p:cNvSpPr>
              <a:spLocks noChangeArrowheads="1"/>
            </p:cNvSpPr>
            <p:nvPr/>
          </p:nvSpPr>
          <p:spPr bwMode="auto">
            <a:xfrm>
              <a:off x="7351930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7" name="Rectangle 380"/>
            <p:cNvSpPr>
              <a:spLocks noChangeArrowheads="1"/>
            </p:cNvSpPr>
            <p:nvPr/>
          </p:nvSpPr>
          <p:spPr bwMode="auto">
            <a:xfrm>
              <a:off x="7290599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8" name="Rectangle 381"/>
            <p:cNvSpPr>
              <a:spLocks noChangeArrowheads="1"/>
            </p:cNvSpPr>
            <p:nvPr/>
          </p:nvSpPr>
          <p:spPr bwMode="auto">
            <a:xfrm>
              <a:off x="7319769" y="5391283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9" name="Rectangle 382"/>
            <p:cNvSpPr>
              <a:spLocks noChangeArrowheads="1"/>
            </p:cNvSpPr>
            <p:nvPr/>
          </p:nvSpPr>
          <p:spPr bwMode="auto">
            <a:xfrm>
              <a:off x="7351930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0" name="Rectangle 383"/>
            <p:cNvSpPr>
              <a:spLocks noChangeArrowheads="1"/>
            </p:cNvSpPr>
            <p:nvPr/>
          </p:nvSpPr>
          <p:spPr bwMode="auto">
            <a:xfrm>
              <a:off x="7882215" y="5671635"/>
              <a:ext cx="219892" cy="2803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1" name="Rectangle 384"/>
            <p:cNvSpPr>
              <a:spLocks noChangeArrowheads="1"/>
            </p:cNvSpPr>
            <p:nvPr/>
          </p:nvSpPr>
          <p:spPr bwMode="auto">
            <a:xfrm>
              <a:off x="7921107" y="5524216"/>
              <a:ext cx="138368" cy="14741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2" name="Rectangle 385"/>
            <p:cNvSpPr>
              <a:spLocks noChangeArrowheads="1"/>
            </p:cNvSpPr>
            <p:nvPr/>
          </p:nvSpPr>
          <p:spPr bwMode="auto">
            <a:xfrm>
              <a:off x="7946537" y="5413438"/>
              <a:ext cx="90500" cy="11418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3" name="Rectangle 386"/>
            <p:cNvSpPr>
              <a:spLocks noChangeArrowheads="1"/>
            </p:cNvSpPr>
            <p:nvPr/>
          </p:nvSpPr>
          <p:spPr bwMode="auto">
            <a:xfrm>
              <a:off x="7956260" y="5232786"/>
              <a:ext cx="68062" cy="1806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4" name="Rectangle 387"/>
            <p:cNvSpPr>
              <a:spLocks noChangeArrowheads="1"/>
            </p:cNvSpPr>
            <p:nvPr/>
          </p:nvSpPr>
          <p:spPr bwMode="auto">
            <a:xfrm>
              <a:off x="7968975" y="5269428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5" name="Rectangle 388"/>
            <p:cNvSpPr>
              <a:spLocks noChangeArrowheads="1"/>
            </p:cNvSpPr>
            <p:nvPr/>
          </p:nvSpPr>
          <p:spPr bwMode="auto">
            <a:xfrm>
              <a:off x="7985429" y="5269428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6" name="Rectangle 389"/>
            <p:cNvSpPr>
              <a:spLocks noChangeArrowheads="1"/>
            </p:cNvSpPr>
            <p:nvPr/>
          </p:nvSpPr>
          <p:spPr bwMode="auto">
            <a:xfrm>
              <a:off x="7998144" y="5269428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7" name="Rectangle 390"/>
            <p:cNvSpPr>
              <a:spLocks noChangeArrowheads="1"/>
            </p:cNvSpPr>
            <p:nvPr/>
          </p:nvSpPr>
          <p:spPr bwMode="auto">
            <a:xfrm>
              <a:off x="7968975" y="5299253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8" name="Rectangle 391"/>
            <p:cNvSpPr>
              <a:spLocks noChangeArrowheads="1"/>
            </p:cNvSpPr>
            <p:nvPr/>
          </p:nvSpPr>
          <p:spPr bwMode="auto">
            <a:xfrm>
              <a:off x="7985429" y="5299253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9" name="Rectangle 392"/>
            <p:cNvSpPr>
              <a:spLocks noChangeArrowheads="1"/>
            </p:cNvSpPr>
            <p:nvPr/>
          </p:nvSpPr>
          <p:spPr bwMode="auto">
            <a:xfrm>
              <a:off x="7998144" y="5299253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0" name="Rectangle 393"/>
            <p:cNvSpPr>
              <a:spLocks noChangeArrowheads="1"/>
            </p:cNvSpPr>
            <p:nvPr/>
          </p:nvSpPr>
          <p:spPr bwMode="auto">
            <a:xfrm>
              <a:off x="7968975" y="5335895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1" name="Rectangle 394"/>
            <p:cNvSpPr>
              <a:spLocks noChangeArrowheads="1"/>
            </p:cNvSpPr>
            <p:nvPr/>
          </p:nvSpPr>
          <p:spPr bwMode="auto">
            <a:xfrm>
              <a:off x="7985429" y="5335895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2" name="Rectangle 395"/>
            <p:cNvSpPr>
              <a:spLocks noChangeArrowheads="1"/>
            </p:cNvSpPr>
            <p:nvPr/>
          </p:nvSpPr>
          <p:spPr bwMode="auto">
            <a:xfrm>
              <a:off x="7998144" y="5335895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3" name="Rectangle 396"/>
            <p:cNvSpPr>
              <a:spLocks noChangeArrowheads="1"/>
            </p:cNvSpPr>
            <p:nvPr/>
          </p:nvSpPr>
          <p:spPr bwMode="auto">
            <a:xfrm>
              <a:off x="7968975" y="5369127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4" name="Rectangle 397"/>
            <p:cNvSpPr>
              <a:spLocks noChangeArrowheads="1"/>
            </p:cNvSpPr>
            <p:nvPr/>
          </p:nvSpPr>
          <p:spPr bwMode="auto">
            <a:xfrm>
              <a:off x="7985429" y="5369127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5" name="Rectangle 398"/>
            <p:cNvSpPr>
              <a:spLocks noChangeArrowheads="1"/>
            </p:cNvSpPr>
            <p:nvPr/>
          </p:nvSpPr>
          <p:spPr bwMode="auto">
            <a:xfrm>
              <a:off x="7998144" y="5369127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6" name="Rectangle 399"/>
            <p:cNvSpPr>
              <a:spLocks noChangeArrowheads="1"/>
            </p:cNvSpPr>
            <p:nvPr/>
          </p:nvSpPr>
          <p:spPr bwMode="auto">
            <a:xfrm>
              <a:off x="7960000" y="5427925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7" name="Rectangle 400"/>
            <p:cNvSpPr>
              <a:spLocks noChangeArrowheads="1"/>
            </p:cNvSpPr>
            <p:nvPr/>
          </p:nvSpPr>
          <p:spPr bwMode="auto">
            <a:xfrm>
              <a:off x="7982438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8" name="Rectangle 401"/>
            <p:cNvSpPr>
              <a:spLocks noChangeArrowheads="1"/>
            </p:cNvSpPr>
            <p:nvPr/>
          </p:nvSpPr>
          <p:spPr bwMode="auto">
            <a:xfrm>
              <a:off x="8001884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9" name="Rectangle 402"/>
            <p:cNvSpPr>
              <a:spLocks noChangeArrowheads="1"/>
            </p:cNvSpPr>
            <p:nvPr/>
          </p:nvSpPr>
          <p:spPr bwMode="auto">
            <a:xfrm>
              <a:off x="7960000" y="5464566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0" name="Rectangle 403"/>
            <p:cNvSpPr>
              <a:spLocks noChangeArrowheads="1"/>
            </p:cNvSpPr>
            <p:nvPr/>
          </p:nvSpPr>
          <p:spPr bwMode="auto">
            <a:xfrm>
              <a:off x="7982438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1" name="Rectangle 404"/>
            <p:cNvSpPr>
              <a:spLocks noChangeArrowheads="1"/>
            </p:cNvSpPr>
            <p:nvPr/>
          </p:nvSpPr>
          <p:spPr bwMode="auto">
            <a:xfrm>
              <a:off x="8001884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2" name="Rectangle 405"/>
            <p:cNvSpPr>
              <a:spLocks noChangeArrowheads="1"/>
            </p:cNvSpPr>
            <p:nvPr/>
          </p:nvSpPr>
          <p:spPr bwMode="auto">
            <a:xfrm>
              <a:off x="7960000" y="5502060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3" name="Rectangle 407"/>
            <p:cNvSpPr>
              <a:spLocks noChangeArrowheads="1"/>
            </p:cNvSpPr>
            <p:nvPr/>
          </p:nvSpPr>
          <p:spPr bwMode="auto">
            <a:xfrm>
              <a:off x="7982438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4" name="Rectangle 408"/>
            <p:cNvSpPr>
              <a:spLocks noChangeArrowheads="1"/>
            </p:cNvSpPr>
            <p:nvPr/>
          </p:nvSpPr>
          <p:spPr bwMode="auto">
            <a:xfrm>
              <a:off x="8001884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5" name="Rectangle 409"/>
            <p:cNvSpPr>
              <a:spLocks noChangeArrowheads="1"/>
            </p:cNvSpPr>
            <p:nvPr/>
          </p:nvSpPr>
          <p:spPr bwMode="auto">
            <a:xfrm>
              <a:off x="793083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6" name="Rectangle 410"/>
            <p:cNvSpPr>
              <a:spLocks noChangeArrowheads="1"/>
            </p:cNvSpPr>
            <p:nvPr/>
          </p:nvSpPr>
          <p:spPr bwMode="auto">
            <a:xfrm>
              <a:off x="793083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7" name="Rectangle 411"/>
            <p:cNvSpPr>
              <a:spLocks noChangeArrowheads="1"/>
            </p:cNvSpPr>
            <p:nvPr/>
          </p:nvSpPr>
          <p:spPr bwMode="auto">
            <a:xfrm>
              <a:off x="793083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8" name="Rectangle 412"/>
            <p:cNvSpPr>
              <a:spLocks noChangeArrowheads="1"/>
            </p:cNvSpPr>
            <p:nvPr/>
          </p:nvSpPr>
          <p:spPr bwMode="auto">
            <a:xfrm>
              <a:off x="793083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9" name="Rectangle 413"/>
            <p:cNvSpPr>
              <a:spLocks noChangeArrowheads="1"/>
            </p:cNvSpPr>
            <p:nvPr/>
          </p:nvSpPr>
          <p:spPr bwMode="auto">
            <a:xfrm>
              <a:off x="793083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0" name="Rectangle 414"/>
            <p:cNvSpPr>
              <a:spLocks noChangeArrowheads="1"/>
            </p:cNvSpPr>
            <p:nvPr/>
          </p:nvSpPr>
          <p:spPr bwMode="auto">
            <a:xfrm>
              <a:off x="793083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1" name="Rectangle 415"/>
            <p:cNvSpPr>
              <a:spLocks noChangeArrowheads="1"/>
            </p:cNvSpPr>
            <p:nvPr/>
          </p:nvSpPr>
          <p:spPr bwMode="auto">
            <a:xfrm>
              <a:off x="795626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2" name="Rectangle 416"/>
            <p:cNvSpPr>
              <a:spLocks noChangeArrowheads="1"/>
            </p:cNvSpPr>
            <p:nvPr/>
          </p:nvSpPr>
          <p:spPr bwMode="auto">
            <a:xfrm>
              <a:off x="795626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3" name="Rectangle 417"/>
            <p:cNvSpPr>
              <a:spLocks noChangeArrowheads="1"/>
            </p:cNvSpPr>
            <p:nvPr/>
          </p:nvSpPr>
          <p:spPr bwMode="auto">
            <a:xfrm>
              <a:off x="795626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4" name="Rectangle 418"/>
            <p:cNvSpPr>
              <a:spLocks noChangeArrowheads="1"/>
            </p:cNvSpPr>
            <p:nvPr/>
          </p:nvSpPr>
          <p:spPr bwMode="auto">
            <a:xfrm>
              <a:off x="795626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5" name="Rectangle 419"/>
            <p:cNvSpPr>
              <a:spLocks noChangeArrowheads="1"/>
            </p:cNvSpPr>
            <p:nvPr/>
          </p:nvSpPr>
          <p:spPr bwMode="auto">
            <a:xfrm>
              <a:off x="795626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6" name="Rectangle 420"/>
            <p:cNvSpPr>
              <a:spLocks noChangeArrowheads="1"/>
            </p:cNvSpPr>
            <p:nvPr/>
          </p:nvSpPr>
          <p:spPr bwMode="auto">
            <a:xfrm>
              <a:off x="795626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7" name="Rectangle 421"/>
            <p:cNvSpPr>
              <a:spLocks noChangeArrowheads="1"/>
            </p:cNvSpPr>
            <p:nvPr/>
          </p:nvSpPr>
          <p:spPr bwMode="auto">
            <a:xfrm>
              <a:off x="7982438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8" name="Rectangle 422"/>
            <p:cNvSpPr>
              <a:spLocks noChangeArrowheads="1"/>
            </p:cNvSpPr>
            <p:nvPr/>
          </p:nvSpPr>
          <p:spPr bwMode="auto">
            <a:xfrm>
              <a:off x="7982438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9" name="Rectangle 423"/>
            <p:cNvSpPr>
              <a:spLocks noChangeArrowheads="1"/>
            </p:cNvSpPr>
            <p:nvPr/>
          </p:nvSpPr>
          <p:spPr bwMode="auto">
            <a:xfrm>
              <a:off x="7982438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0" name="Rectangle 424"/>
            <p:cNvSpPr>
              <a:spLocks noChangeArrowheads="1"/>
            </p:cNvSpPr>
            <p:nvPr/>
          </p:nvSpPr>
          <p:spPr bwMode="auto">
            <a:xfrm>
              <a:off x="7982438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1" name="Rectangle 425"/>
            <p:cNvSpPr>
              <a:spLocks noChangeArrowheads="1"/>
            </p:cNvSpPr>
            <p:nvPr/>
          </p:nvSpPr>
          <p:spPr bwMode="auto">
            <a:xfrm>
              <a:off x="7982438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2" name="Rectangle 426"/>
            <p:cNvSpPr>
              <a:spLocks noChangeArrowheads="1"/>
            </p:cNvSpPr>
            <p:nvPr/>
          </p:nvSpPr>
          <p:spPr bwMode="auto">
            <a:xfrm>
              <a:off x="7982438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3" name="Rectangle 427"/>
            <p:cNvSpPr>
              <a:spLocks noChangeArrowheads="1"/>
            </p:cNvSpPr>
            <p:nvPr/>
          </p:nvSpPr>
          <p:spPr bwMode="auto">
            <a:xfrm>
              <a:off x="8007867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4" name="Rectangle 428"/>
            <p:cNvSpPr>
              <a:spLocks noChangeArrowheads="1"/>
            </p:cNvSpPr>
            <p:nvPr/>
          </p:nvSpPr>
          <p:spPr bwMode="auto">
            <a:xfrm>
              <a:off x="8007867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5" name="Rectangle 429"/>
            <p:cNvSpPr>
              <a:spLocks noChangeArrowheads="1"/>
            </p:cNvSpPr>
            <p:nvPr/>
          </p:nvSpPr>
          <p:spPr bwMode="auto">
            <a:xfrm>
              <a:off x="8007867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6" name="Rectangle 430"/>
            <p:cNvSpPr>
              <a:spLocks noChangeArrowheads="1"/>
            </p:cNvSpPr>
            <p:nvPr/>
          </p:nvSpPr>
          <p:spPr bwMode="auto">
            <a:xfrm>
              <a:off x="8007867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7" name="Rectangle 431"/>
            <p:cNvSpPr>
              <a:spLocks noChangeArrowheads="1"/>
            </p:cNvSpPr>
            <p:nvPr/>
          </p:nvSpPr>
          <p:spPr bwMode="auto">
            <a:xfrm>
              <a:off x="8007867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8" name="Rectangle 432"/>
            <p:cNvSpPr>
              <a:spLocks noChangeArrowheads="1"/>
            </p:cNvSpPr>
            <p:nvPr/>
          </p:nvSpPr>
          <p:spPr bwMode="auto">
            <a:xfrm>
              <a:off x="8007867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9" name="Rectangle 433"/>
            <p:cNvSpPr>
              <a:spLocks noChangeArrowheads="1"/>
            </p:cNvSpPr>
            <p:nvPr/>
          </p:nvSpPr>
          <p:spPr bwMode="auto">
            <a:xfrm>
              <a:off x="8034045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0" name="Rectangle 434"/>
            <p:cNvSpPr>
              <a:spLocks noChangeArrowheads="1"/>
            </p:cNvSpPr>
            <p:nvPr/>
          </p:nvSpPr>
          <p:spPr bwMode="auto">
            <a:xfrm>
              <a:off x="8034045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1" name="Rectangle 435"/>
            <p:cNvSpPr>
              <a:spLocks noChangeArrowheads="1"/>
            </p:cNvSpPr>
            <p:nvPr/>
          </p:nvSpPr>
          <p:spPr bwMode="auto">
            <a:xfrm>
              <a:off x="8034045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2" name="Rectangle 436"/>
            <p:cNvSpPr>
              <a:spLocks noChangeArrowheads="1"/>
            </p:cNvSpPr>
            <p:nvPr/>
          </p:nvSpPr>
          <p:spPr bwMode="auto">
            <a:xfrm>
              <a:off x="8034045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3" name="Rectangle 437"/>
            <p:cNvSpPr>
              <a:spLocks noChangeArrowheads="1"/>
            </p:cNvSpPr>
            <p:nvPr/>
          </p:nvSpPr>
          <p:spPr bwMode="auto">
            <a:xfrm>
              <a:off x="8034045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4" name="Rectangle 438"/>
            <p:cNvSpPr>
              <a:spLocks noChangeArrowheads="1"/>
            </p:cNvSpPr>
            <p:nvPr/>
          </p:nvSpPr>
          <p:spPr bwMode="auto">
            <a:xfrm>
              <a:off x="8034045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5" name="Rectangle 439"/>
            <p:cNvSpPr>
              <a:spLocks noChangeArrowheads="1"/>
            </p:cNvSpPr>
            <p:nvPr/>
          </p:nvSpPr>
          <p:spPr bwMode="auto">
            <a:xfrm>
              <a:off x="7933822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6" name="Rectangle 440"/>
            <p:cNvSpPr>
              <a:spLocks noChangeArrowheads="1"/>
            </p:cNvSpPr>
            <p:nvPr/>
          </p:nvSpPr>
          <p:spPr bwMode="auto">
            <a:xfrm>
              <a:off x="7950277" y="5542111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7" name="Rectangle 441"/>
            <p:cNvSpPr>
              <a:spLocks noChangeArrowheads="1"/>
            </p:cNvSpPr>
            <p:nvPr/>
          </p:nvSpPr>
          <p:spPr bwMode="auto">
            <a:xfrm>
              <a:off x="7968975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8" name="Rectangle 442"/>
            <p:cNvSpPr>
              <a:spLocks noChangeArrowheads="1"/>
            </p:cNvSpPr>
            <p:nvPr/>
          </p:nvSpPr>
          <p:spPr bwMode="auto">
            <a:xfrm>
              <a:off x="7933822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9" name="Rectangle 443"/>
            <p:cNvSpPr>
              <a:spLocks noChangeArrowheads="1"/>
            </p:cNvSpPr>
            <p:nvPr/>
          </p:nvSpPr>
          <p:spPr bwMode="auto">
            <a:xfrm>
              <a:off x="7950277" y="5564266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0" name="Rectangle 444"/>
            <p:cNvSpPr>
              <a:spLocks noChangeArrowheads="1"/>
            </p:cNvSpPr>
            <p:nvPr/>
          </p:nvSpPr>
          <p:spPr bwMode="auto">
            <a:xfrm>
              <a:off x="7968975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1" name="Rectangle 445"/>
            <p:cNvSpPr>
              <a:spLocks noChangeArrowheads="1"/>
            </p:cNvSpPr>
            <p:nvPr/>
          </p:nvSpPr>
          <p:spPr bwMode="auto">
            <a:xfrm>
              <a:off x="8001884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2" name="Rectangle 446"/>
            <p:cNvSpPr>
              <a:spLocks noChangeArrowheads="1"/>
            </p:cNvSpPr>
            <p:nvPr/>
          </p:nvSpPr>
          <p:spPr bwMode="auto">
            <a:xfrm>
              <a:off x="8017591" y="5542111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3" name="Rectangle 447"/>
            <p:cNvSpPr>
              <a:spLocks noChangeArrowheads="1"/>
            </p:cNvSpPr>
            <p:nvPr/>
          </p:nvSpPr>
          <p:spPr bwMode="auto">
            <a:xfrm>
              <a:off x="8037037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4" name="Rectangle 448"/>
            <p:cNvSpPr>
              <a:spLocks noChangeArrowheads="1"/>
            </p:cNvSpPr>
            <p:nvPr/>
          </p:nvSpPr>
          <p:spPr bwMode="auto">
            <a:xfrm>
              <a:off x="8001884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5" name="Rectangle 449"/>
            <p:cNvSpPr>
              <a:spLocks noChangeArrowheads="1"/>
            </p:cNvSpPr>
            <p:nvPr/>
          </p:nvSpPr>
          <p:spPr bwMode="auto">
            <a:xfrm>
              <a:off x="8017591" y="5564266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6" name="Rectangle 450"/>
            <p:cNvSpPr>
              <a:spLocks noChangeArrowheads="1"/>
            </p:cNvSpPr>
            <p:nvPr/>
          </p:nvSpPr>
          <p:spPr bwMode="auto">
            <a:xfrm>
              <a:off x="8037037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7" name="Rectangle 451"/>
            <p:cNvSpPr>
              <a:spLocks noChangeArrowheads="1"/>
            </p:cNvSpPr>
            <p:nvPr/>
          </p:nvSpPr>
          <p:spPr bwMode="auto">
            <a:xfrm>
              <a:off x="7933822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8" name="Rectangle 452"/>
            <p:cNvSpPr>
              <a:spLocks noChangeArrowheads="1"/>
            </p:cNvSpPr>
            <p:nvPr/>
          </p:nvSpPr>
          <p:spPr bwMode="auto">
            <a:xfrm>
              <a:off x="7950277" y="5608577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9" name="Rectangle 453"/>
            <p:cNvSpPr>
              <a:spLocks noChangeArrowheads="1"/>
            </p:cNvSpPr>
            <p:nvPr/>
          </p:nvSpPr>
          <p:spPr bwMode="auto">
            <a:xfrm>
              <a:off x="7968975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0" name="Rectangle 454"/>
            <p:cNvSpPr>
              <a:spLocks noChangeArrowheads="1"/>
            </p:cNvSpPr>
            <p:nvPr/>
          </p:nvSpPr>
          <p:spPr bwMode="auto">
            <a:xfrm>
              <a:off x="7933822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1" name="Rectangle 455"/>
            <p:cNvSpPr>
              <a:spLocks noChangeArrowheads="1"/>
            </p:cNvSpPr>
            <p:nvPr/>
          </p:nvSpPr>
          <p:spPr bwMode="auto">
            <a:xfrm>
              <a:off x="7950277" y="5634141"/>
              <a:ext cx="15707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2" name="Rectangle 456"/>
            <p:cNvSpPr>
              <a:spLocks noChangeArrowheads="1"/>
            </p:cNvSpPr>
            <p:nvPr/>
          </p:nvSpPr>
          <p:spPr bwMode="auto">
            <a:xfrm>
              <a:off x="7968975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3" name="Rectangle 457"/>
            <p:cNvSpPr>
              <a:spLocks noChangeArrowheads="1"/>
            </p:cNvSpPr>
            <p:nvPr/>
          </p:nvSpPr>
          <p:spPr bwMode="auto">
            <a:xfrm>
              <a:off x="8001884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4" name="Rectangle 458"/>
            <p:cNvSpPr>
              <a:spLocks noChangeArrowheads="1"/>
            </p:cNvSpPr>
            <p:nvPr/>
          </p:nvSpPr>
          <p:spPr bwMode="auto">
            <a:xfrm>
              <a:off x="8017591" y="5608577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5" name="Rectangle 459"/>
            <p:cNvSpPr>
              <a:spLocks noChangeArrowheads="1"/>
            </p:cNvSpPr>
            <p:nvPr/>
          </p:nvSpPr>
          <p:spPr bwMode="auto">
            <a:xfrm>
              <a:off x="8037037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6" name="Rectangle 460"/>
            <p:cNvSpPr>
              <a:spLocks noChangeArrowheads="1"/>
            </p:cNvSpPr>
            <p:nvPr/>
          </p:nvSpPr>
          <p:spPr bwMode="auto">
            <a:xfrm>
              <a:off x="8001884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7" name="Rectangle 461"/>
            <p:cNvSpPr>
              <a:spLocks noChangeArrowheads="1"/>
            </p:cNvSpPr>
            <p:nvPr/>
          </p:nvSpPr>
          <p:spPr bwMode="auto">
            <a:xfrm>
              <a:off x="8017591" y="5634141"/>
              <a:ext cx="1645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8" name="Rectangle 462"/>
            <p:cNvSpPr>
              <a:spLocks noChangeArrowheads="1"/>
            </p:cNvSpPr>
            <p:nvPr/>
          </p:nvSpPr>
          <p:spPr bwMode="auto">
            <a:xfrm>
              <a:off x="8037037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9" name="Freeform 463"/>
            <p:cNvSpPr>
              <a:spLocks/>
            </p:cNvSpPr>
            <p:nvPr/>
          </p:nvSpPr>
          <p:spPr bwMode="auto">
            <a:xfrm>
              <a:off x="7956260" y="5177398"/>
              <a:ext cx="68062" cy="55389"/>
            </a:xfrm>
            <a:custGeom>
              <a:avLst/>
              <a:gdLst>
                <a:gd name="T0" fmla="*/ 0 w 91"/>
                <a:gd name="T1" fmla="*/ 65 h 65"/>
                <a:gd name="T2" fmla="*/ 48 w 91"/>
                <a:gd name="T3" fmla="*/ 0 h 65"/>
                <a:gd name="T4" fmla="*/ 91 w 91"/>
                <a:gd name="T5" fmla="*/ 65 h 65"/>
                <a:gd name="T6" fmla="*/ 0 w 91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65">
                  <a:moveTo>
                    <a:pt x="0" y="65"/>
                  </a:moveTo>
                  <a:lnTo>
                    <a:pt x="48" y="0"/>
                  </a:lnTo>
                  <a:lnTo>
                    <a:pt x="91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0" name="Freeform 464"/>
            <p:cNvSpPr>
              <a:spLocks/>
            </p:cNvSpPr>
            <p:nvPr/>
          </p:nvSpPr>
          <p:spPr bwMode="auto">
            <a:xfrm>
              <a:off x="7187385" y="5383614"/>
              <a:ext cx="2992" cy="92030"/>
            </a:xfrm>
            <a:custGeom>
              <a:avLst/>
              <a:gdLst>
                <a:gd name="T0" fmla="*/ 4 w 4"/>
                <a:gd name="T1" fmla="*/ 108 h 108"/>
                <a:gd name="T2" fmla="*/ 0 w 4"/>
                <a:gd name="T3" fmla="*/ 0 h 108"/>
                <a:gd name="T4" fmla="*/ 0 w 4"/>
                <a:gd name="T5" fmla="*/ 108 h 108"/>
                <a:gd name="T6" fmla="*/ 4 w 4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8">
                  <a:moveTo>
                    <a:pt x="4" y="108"/>
                  </a:moveTo>
                  <a:lnTo>
                    <a:pt x="0" y="0"/>
                  </a:lnTo>
                  <a:lnTo>
                    <a:pt x="0" y="108"/>
                  </a:lnTo>
                  <a:lnTo>
                    <a:pt x="4" y="10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1" name="Oval 465"/>
            <p:cNvSpPr>
              <a:spLocks noChangeArrowheads="1"/>
            </p:cNvSpPr>
            <p:nvPr/>
          </p:nvSpPr>
          <p:spPr bwMode="auto">
            <a:xfrm>
              <a:off x="7184393" y="5446672"/>
              <a:ext cx="9723" cy="17895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2" name="Oval 466"/>
            <p:cNvSpPr>
              <a:spLocks noChangeArrowheads="1"/>
            </p:cNvSpPr>
            <p:nvPr/>
          </p:nvSpPr>
          <p:spPr bwMode="auto">
            <a:xfrm>
              <a:off x="7187385" y="5427925"/>
              <a:ext cx="2992" cy="7669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3" name="Rectangle 467"/>
            <p:cNvSpPr>
              <a:spLocks noChangeArrowheads="1"/>
            </p:cNvSpPr>
            <p:nvPr/>
          </p:nvSpPr>
          <p:spPr bwMode="auto">
            <a:xfrm>
              <a:off x="7103616" y="5475644"/>
              <a:ext cx="171277" cy="47634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4" name="Rectangle 468"/>
            <p:cNvSpPr>
              <a:spLocks noChangeArrowheads="1"/>
            </p:cNvSpPr>
            <p:nvPr/>
          </p:nvSpPr>
          <p:spPr bwMode="auto">
            <a:xfrm>
              <a:off x="7132037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5" name="Rectangle 469"/>
            <p:cNvSpPr>
              <a:spLocks noChangeArrowheads="1"/>
            </p:cNvSpPr>
            <p:nvPr/>
          </p:nvSpPr>
          <p:spPr bwMode="auto">
            <a:xfrm>
              <a:off x="7119322" y="5450080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6" name="Rectangle 470"/>
            <p:cNvSpPr>
              <a:spLocks noChangeArrowheads="1"/>
            </p:cNvSpPr>
            <p:nvPr/>
          </p:nvSpPr>
          <p:spPr bwMode="auto">
            <a:xfrm>
              <a:off x="7219545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7" name="Rectangle 471"/>
            <p:cNvSpPr>
              <a:spLocks noChangeArrowheads="1"/>
            </p:cNvSpPr>
            <p:nvPr/>
          </p:nvSpPr>
          <p:spPr bwMode="auto">
            <a:xfrm>
              <a:off x="7209823" y="5450080"/>
              <a:ext cx="45624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8" name="Rectangle 472"/>
            <p:cNvSpPr>
              <a:spLocks noChangeArrowheads="1"/>
            </p:cNvSpPr>
            <p:nvPr/>
          </p:nvSpPr>
          <p:spPr bwMode="auto">
            <a:xfrm>
              <a:off x="7119322" y="5490983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9" name="Rectangle 473"/>
            <p:cNvSpPr>
              <a:spLocks noChangeArrowheads="1"/>
            </p:cNvSpPr>
            <p:nvPr/>
          </p:nvSpPr>
          <p:spPr bwMode="auto">
            <a:xfrm>
              <a:off x="7119322" y="5508877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0" name="Rectangle 474"/>
            <p:cNvSpPr>
              <a:spLocks noChangeArrowheads="1"/>
            </p:cNvSpPr>
            <p:nvPr/>
          </p:nvSpPr>
          <p:spPr bwMode="auto">
            <a:xfrm>
              <a:off x="7119322" y="553103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1" name="Rectangle 475"/>
            <p:cNvSpPr>
              <a:spLocks noChangeArrowheads="1"/>
            </p:cNvSpPr>
            <p:nvPr/>
          </p:nvSpPr>
          <p:spPr bwMode="auto">
            <a:xfrm>
              <a:off x="7119322" y="554978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2" name="Rectangle 476"/>
            <p:cNvSpPr>
              <a:spLocks noChangeArrowheads="1"/>
            </p:cNvSpPr>
            <p:nvPr/>
          </p:nvSpPr>
          <p:spPr bwMode="auto">
            <a:xfrm>
              <a:off x="7119322" y="5571935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3" name="Rectangle 477"/>
            <p:cNvSpPr>
              <a:spLocks noChangeArrowheads="1"/>
            </p:cNvSpPr>
            <p:nvPr/>
          </p:nvSpPr>
          <p:spPr bwMode="auto">
            <a:xfrm>
              <a:off x="7119322" y="558983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4" name="Rectangle 478"/>
            <p:cNvSpPr>
              <a:spLocks noChangeArrowheads="1"/>
            </p:cNvSpPr>
            <p:nvPr/>
          </p:nvSpPr>
          <p:spPr bwMode="auto">
            <a:xfrm>
              <a:off x="7119322" y="561198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5" name="Rectangle 479"/>
            <p:cNvSpPr>
              <a:spLocks noChangeArrowheads="1"/>
            </p:cNvSpPr>
            <p:nvPr/>
          </p:nvSpPr>
          <p:spPr bwMode="auto">
            <a:xfrm>
              <a:off x="7119322" y="563073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6" name="Rectangle 480"/>
            <p:cNvSpPr>
              <a:spLocks noChangeArrowheads="1"/>
            </p:cNvSpPr>
            <p:nvPr/>
          </p:nvSpPr>
          <p:spPr bwMode="auto">
            <a:xfrm>
              <a:off x="7119322" y="565288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7" name="Rectangle 481"/>
            <p:cNvSpPr>
              <a:spLocks noChangeArrowheads="1"/>
            </p:cNvSpPr>
            <p:nvPr/>
          </p:nvSpPr>
          <p:spPr bwMode="auto">
            <a:xfrm>
              <a:off x="7119322" y="567504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8" name="Rectangle 482"/>
            <p:cNvSpPr>
              <a:spLocks noChangeArrowheads="1"/>
            </p:cNvSpPr>
            <p:nvPr/>
          </p:nvSpPr>
          <p:spPr bwMode="auto">
            <a:xfrm>
              <a:off x="7119322" y="569379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9" name="Rectangle 483"/>
            <p:cNvSpPr>
              <a:spLocks noChangeArrowheads="1"/>
            </p:cNvSpPr>
            <p:nvPr/>
          </p:nvSpPr>
          <p:spPr bwMode="auto">
            <a:xfrm>
              <a:off x="7119322" y="5715946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0" name="Rectangle 484"/>
            <p:cNvSpPr>
              <a:spLocks noChangeArrowheads="1"/>
            </p:cNvSpPr>
            <p:nvPr/>
          </p:nvSpPr>
          <p:spPr bwMode="auto">
            <a:xfrm>
              <a:off x="7119322" y="573384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1" name="Rectangle 485"/>
            <p:cNvSpPr>
              <a:spLocks noChangeArrowheads="1"/>
            </p:cNvSpPr>
            <p:nvPr/>
          </p:nvSpPr>
          <p:spPr bwMode="auto">
            <a:xfrm>
              <a:off x="7119322" y="575599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2" name="Rectangle 486"/>
            <p:cNvSpPr>
              <a:spLocks noChangeArrowheads="1"/>
            </p:cNvSpPr>
            <p:nvPr/>
          </p:nvSpPr>
          <p:spPr bwMode="auto">
            <a:xfrm>
              <a:off x="7119322" y="577474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3" name="Rectangle 487"/>
            <p:cNvSpPr>
              <a:spLocks noChangeArrowheads="1"/>
            </p:cNvSpPr>
            <p:nvPr/>
          </p:nvSpPr>
          <p:spPr bwMode="auto">
            <a:xfrm>
              <a:off x="7119322" y="579689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4" name="Rectangle 488"/>
            <p:cNvSpPr>
              <a:spLocks noChangeArrowheads="1"/>
            </p:cNvSpPr>
            <p:nvPr/>
          </p:nvSpPr>
          <p:spPr bwMode="auto">
            <a:xfrm>
              <a:off x="7119322" y="581479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5" name="Rectangle 489"/>
            <p:cNvSpPr>
              <a:spLocks noChangeArrowheads="1"/>
            </p:cNvSpPr>
            <p:nvPr/>
          </p:nvSpPr>
          <p:spPr bwMode="auto">
            <a:xfrm>
              <a:off x="7119322" y="5836949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6" name="Rectangle 490"/>
            <p:cNvSpPr>
              <a:spLocks noChangeArrowheads="1"/>
            </p:cNvSpPr>
            <p:nvPr/>
          </p:nvSpPr>
          <p:spPr bwMode="auto">
            <a:xfrm>
              <a:off x="7119322" y="585910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7" name="Rectangle 491"/>
            <p:cNvSpPr>
              <a:spLocks noChangeArrowheads="1"/>
            </p:cNvSpPr>
            <p:nvPr/>
          </p:nvSpPr>
          <p:spPr bwMode="auto">
            <a:xfrm>
              <a:off x="7119322" y="5877851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8" name="Rectangle 492"/>
            <p:cNvSpPr>
              <a:spLocks noChangeArrowheads="1"/>
            </p:cNvSpPr>
            <p:nvPr/>
          </p:nvSpPr>
          <p:spPr bwMode="auto">
            <a:xfrm>
              <a:off x="7119322" y="5900007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9" name="Rectangle 493"/>
            <p:cNvSpPr>
              <a:spLocks noChangeArrowheads="1"/>
            </p:cNvSpPr>
            <p:nvPr/>
          </p:nvSpPr>
          <p:spPr bwMode="auto">
            <a:xfrm>
              <a:off x="7206831" y="5490983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0" name="Rectangle 494"/>
            <p:cNvSpPr>
              <a:spLocks noChangeArrowheads="1"/>
            </p:cNvSpPr>
            <p:nvPr/>
          </p:nvSpPr>
          <p:spPr bwMode="auto">
            <a:xfrm>
              <a:off x="7206831" y="5508877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1" name="Rectangle 495"/>
            <p:cNvSpPr>
              <a:spLocks noChangeArrowheads="1"/>
            </p:cNvSpPr>
            <p:nvPr/>
          </p:nvSpPr>
          <p:spPr bwMode="auto">
            <a:xfrm>
              <a:off x="7206831" y="553103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2" name="Rectangle 496"/>
            <p:cNvSpPr>
              <a:spLocks noChangeArrowheads="1"/>
            </p:cNvSpPr>
            <p:nvPr/>
          </p:nvSpPr>
          <p:spPr bwMode="auto">
            <a:xfrm>
              <a:off x="7206831" y="554978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3" name="Rectangle 497"/>
            <p:cNvSpPr>
              <a:spLocks noChangeArrowheads="1"/>
            </p:cNvSpPr>
            <p:nvPr/>
          </p:nvSpPr>
          <p:spPr bwMode="auto">
            <a:xfrm>
              <a:off x="7206831" y="5571935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4" name="Rectangle 498"/>
            <p:cNvSpPr>
              <a:spLocks noChangeArrowheads="1"/>
            </p:cNvSpPr>
            <p:nvPr/>
          </p:nvSpPr>
          <p:spPr bwMode="auto">
            <a:xfrm>
              <a:off x="7206831" y="558983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5" name="Rectangle 499"/>
            <p:cNvSpPr>
              <a:spLocks noChangeArrowheads="1"/>
            </p:cNvSpPr>
            <p:nvPr/>
          </p:nvSpPr>
          <p:spPr bwMode="auto">
            <a:xfrm>
              <a:off x="7206831" y="561198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6" name="Rectangle 500"/>
            <p:cNvSpPr>
              <a:spLocks noChangeArrowheads="1"/>
            </p:cNvSpPr>
            <p:nvPr/>
          </p:nvSpPr>
          <p:spPr bwMode="auto">
            <a:xfrm>
              <a:off x="7206831" y="563073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7" name="Rectangle 501"/>
            <p:cNvSpPr>
              <a:spLocks noChangeArrowheads="1"/>
            </p:cNvSpPr>
            <p:nvPr/>
          </p:nvSpPr>
          <p:spPr bwMode="auto">
            <a:xfrm>
              <a:off x="7206831" y="565288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8" name="Rectangle 502"/>
            <p:cNvSpPr>
              <a:spLocks noChangeArrowheads="1"/>
            </p:cNvSpPr>
            <p:nvPr/>
          </p:nvSpPr>
          <p:spPr bwMode="auto">
            <a:xfrm>
              <a:off x="7206831" y="567504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9" name="Rectangle 503"/>
            <p:cNvSpPr>
              <a:spLocks noChangeArrowheads="1"/>
            </p:cNvSpPr>
            <p:nvPr/>
          </p:nvSpPr>
          <p:spPr bwMode="auto">
            <a:xfrm>
              <a:off x="7206831" y="569379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0" name="Rectangle 504"/>
            <p:cNvSpPr>
              <a:spLocks noChangeArrowheads="1"/>
            </p:cNvSpPr>
            <p:nvPr/>
          </p:nvSpPr>
          <p:spPr bwMode="auto">
            <a:xfrm>
              <a:off x="7206831" y="5715946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1" name="Rectangle 505"/>
            <p:cNvSpPr>
              <a:spLocks noChangeArrowheads="1"/>
            </p:cNvSpPr>
            <p:nvPr/>
          </p:nvSpPr>
          <p:spPr bwMode="auto">
            <a:xfrm>
              <a:off x="7206831" y="573384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2" name="Rectangle 506"/>
            <p:cNvSpPr>
              <a:spLocks noChangeArrowheads="1"/>
            </p:cNvSpPr>
            <p:nvPr/>
          </p:nvSpPr>
          <p:spPr bwMode="auto">
            <a:xfrm>
              <a:off x="7206831" y="575599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3" name="Rectangle 507"/>
            <p:cNvSpPr>
              <a:spLocks noChangeArrowheads="1"/>
            </p:cNvSpPr>
            <p:nvPr/>
          </p:nvSpPr>
          <p:spPr bwMode="auto">
            <a:xfrm>
              <a:off x="7206831" y="577474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4" name="Rectangle 508"/>
            <p:cNvSpPr>
              <a:spLocks noChangeArrowheads="1"/>
            </p:cNvSpPr>
            <p:nvPr/>
          </p:nvSpPr>
          <p:spPr bwMode="auto">
            <a:xfrm>
              <a:off x="7206831" y="579689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5" name="Rectangle 509"/>
            <p:cNvSpPr>
              <a:spLocks noChangeArrowheads="1"/>
            </p:cNvSpPr>
            <p:nvPr/>
          </p:nvSpPr>
          <p:spPr bwMode="auto">
            <a:xfrm>
              <a:off x="7206831" y="581479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6" name="Rectangle 510"/>
            <p:cNvSpPr>
              <a:spLocks noChangeArrowheads="1"/>
            </p:cNvSpPr>
            <p:nvPr/>
          </p:nvSpPr>
          <p:spPr bwMode="auto">
            <a:xfrm>
              <a:off x="7206831" y="5836949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7" name="Rectangle 511"/>
            <p:cNvSpPr>
              <a:spLocks noChangeArrowheads="1"/>
            </p:cNvSpPr>
            <p:nvPr/>
          </p:nvSpPr>
          <p:spPr bwMode="auto">
            <a:xfrm>
              <a:off x="7206831" y="585910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8" name="Rectangle 512"/>
            <p:cNvSpPr>
              <a:spLocks noChangeArrowheads="1"/>
            </p:cNvSpPr>
            <p:nvPr/>
          </p:nvSpPr>
          <p:spPr bwMode="auto">
            <a:xfrm>
              <a:off x="7206831" y="5877851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9" name="Rectangle 513"/>
            <p:cNvSpPr>
              <a:spLocks noChangeArrowheads="1"/>
            </p:cNvSpPr>
            <p:nvPr/>
          </p:nvSpPr>
          <p:spPr bwMode="auto">
            <a:xfrm>
              <a:off x="7206831" y="5900007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</p:grpSp>
      <p:cxnSp>
        <p:nvCxnSpPr>
          <p:cNvPr id="400" name="直接箭头连接符 399"/>
          <p:cNvCxnSpPr>
            <a:stCxn id="97" idx="3"/>
            <a:endCxn id="100" idx="1"/>
          </p:cNvCxnSpPr>
          <p:nvPr/>
        </p:nvCxnSpPr>
        <p:spPr>
          <a:xfrm flipV="1">
            <a:off x="2875775" y="4523598"/>
            <a:ext cx="649623" cy="18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箭头连接符 400"/>
          <p:cNvCxnSpPr>
            <a:stCxn id="100" idx="3"/>
            <a:endCxn id="175" idx="1"/>
          </p:cNvCxnSpPr>
          <p:nvPr/>
        </p:nvCxnSpPr>
        <p:spPr>
          <a:xfrm>
            <a:off x="4930160" y="4523598"/>
            <a:ext cx="600288" cy="222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箭头连接符 401"/>
          <p:cNvCxnSpPr>
            <a:stCxn id="481" idx="1"/>
            <a:endCxn id="175" idx="3"/>
          </p:cNvCxnSpPr>
          <p:nvPr/>
        </p:nvCxnSpPr>
        <p:spPr>
          <a:xfrm flipH="1" flipV="1">
            <a:off x="7088835" y="4525821"/>
            <a:ext cx="577629" cy="25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箭头连接符 402"/>
          <p:cNvCxnSpPr>
            <a:stCxn id="170" idx="0"/>
            <a:endCxn id="481" idx="3"/>
          </p:cNvCxnSpPr>
          <p:nvPr/>
        </p:nvCxnSpPr>
        <p:spPr>
          <a:xfrm flipH="1">
            <a:off x="9301779" y="4521613"/>
            <a:ext cx="805419" cy="67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肘形连接符 403"/>
          <p:cNvCxnSpPr>
            <a:stCxn id="353" idx="1"/>
            <a:endCxn id="481" idx="3"/>
          </p:cNvCxnSpPr>
          <p:nvPr/>
        </p:nvCxnSpPr>
        <p:spPr>
          <a:xfrm rot="10800000">
            <a:off x="9301779" y="4528381"/>
            <a:ext cx="751324" cy="62922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肘形连接符 404"/>
          <p:cNvCxnSpPr>
            <a:stCxn id="98" idx="3"/>
            <a:endCxn id="100" idx="1"/>
          </p:cNvCxnSpPr>
          <p:nvPr/>
        </p:nvCxnSpPr>
        <p:spPr>
          <a:xfrm flipV="1">
            <a:off x="2875775" y="4523598"/>
            <a:ext cx="649623" cy="5700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Text Box 317"/>
          <p:cNvSpPr txBox="1">
            <a:spLocks noChangeArrowheads="1"/>
          </p:cNvSpPr>
          <p:nvPr/>
        </p:nvSpPr>
        <p:spPr bwMode="auto">
          <a:xfrm>
            <a:off x="5077062" y="3532524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grpSp>
        <p:nvGrpSpPr>
          <p:cNvPr id="407" name="Group 9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9293047" y="1174898"/>
            <a:ext cx="879475" cy="707489"/>
            <a:chOff x="3809" y="1344"/>
            <a:chExt cx="1003" cy="829"/>
          </a:xfrm>
        </p:grpSpPr>
        <p:sp>
          <p:nvSpPr>
            <p:cNvPr id="408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1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3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4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5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6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7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8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9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0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1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2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3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4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5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6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7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8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9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0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1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2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3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4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5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6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7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8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9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0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1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2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3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4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5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6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7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8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9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0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1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2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3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4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5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6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7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8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9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80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481" name="图片 480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66464" y="4044775"/>
            <a:ext cx="1635315" cy="96721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97042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图片 48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81" y="350218"/>
            <a:ext cx="4093210" cy="302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4" name="图片 48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50217"/>
            <a:ext cx="2959418" cy="302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85" name="图片 48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46" y="3717623"/>
            <a:ext cx="3713480" cy="2917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7" name="图片 48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591" y="4114498"/>
            <a:ext cx="7316788" cy="2367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" name="图片 487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169" y="350217"/>
            <a:ext cx="3590290" cy="35617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1555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C.BrBY0qEKV6Cf6r4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C.BrBY0qEKV6Cf6r4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zAoU_vE.2qTiZA.._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t_ru_a0.aoYhO3B8O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4</TotalTime>
  <Words>274</Words>
  <Application>Microsoft Office PowerPoint</Application>
  <PresentationFormat>自定义</PresentationFormat>
  <Paragraphs>124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3" baseType="lpstr">
      <vt:lpstr>Microsoft YaHei Light</vt:lpstr>
      <vt:lpstr>ＭＳ Ｐゴシック</vt:lpstr>
      <vt:lpstr>楷体</vt:lpstr>
      <vt:lpstr>宋体</vt:lpstr>
      <vt:lpstr>微软雅黑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Equ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zj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i Hongxun</dc:creator>
  <cp:lastModifiedBy>HuiHongxun</cp:lastModifiedBy>
  <cp:revision>19</cp:revision>
  <dcterms:created xsi:type="dcterms:W3CDTF">2019-08-18T17:56:03Z</dcterms:created>
  <dcterms:modified xsi:type="dcterms:W3CDTF">2020-11-14T14:59:30Z</dcterms:modified>
</cp:coreProperties>
</file>